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heme/themeOverride1.xml" ContentType="application/vnd.openxmlformats-officedocument.themeOverr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heme/themeOverride2.xml" ContentType="application/vnd.openxmlformats-officedocument.themeOverride+xml"/>
  <Override PartName="/ppt/notesSlides/notesSlide2.xml" ContentType="application/vnd.openxmlformats-officedocument.presentationml.notesSlide+xml"/>
  <Override PartName="/ppt/theme/themeOverride3.xml" ContentType="application/vnd.openxmlformats-officedocument.themeOverride+xml"/>
  <Override PartName="/ppt/notesSlides/notesSlide3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7"/>
  </p:notesMasterIdLst>
  <p:sldIdLst>
    <p:sldId id="304" r:id="rId2"/>
    <p:sldId id="305" r:id="rId3"/>
    <p:sldId id="258" r:id="rId4"/>
    <p:sldId id="307" r:id="rId5"/>
    <p:sldId id="306" r:id="rId6"/>
  </p:sldIdLst>
  <p:sldSz cx="12192000" cy="6858000"/>
  <p:notesSz cx="6858000" cy="9144000"/>
  <p:custDataLst>
    <p:tags r:id="rId8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E437A"/>
    <a:srgbClr val="3C04EA"/>
    <a:srgbClr val="3D01C3"/>
    <a:srgbClr val="7538FE"/>
    <a:srgbClr val="5521FB"/>
    <a:srgbClr val="FEC748"/>
    <a:srgbClr val="190078"/>
    <a:srgbClr val="2603A2"/>
    <a:srgbClr val="3700D9"/>
    <a:srgbClr val="3A03D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8DFD4203-D9ED-440C-90F0-E44693686A18}" v="111" dt="2018-07-30T02:23:45.022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88" autoAdjust="0"/>
    <p:restoredTop sz="96201" autoAdjust="0"/>
  </p:normalViewPr>
  <p:slideViewPr>
    <p:cSldViewPr snapToGrid="0">
      <p:cViewPr varScale="1">
        <p:scale>
          <a:sx n="65" d="100"/>
          <a:sy n="65" d="100"/>
        </p:scale>
        <p:origin x="90" y="192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66" d="100"/>
        <a:sy n="66" d="100"/>
      </p:scale>
      <p:origin x="0" y="-21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12" Type="http://schemas.openxmlformats.org/officeDocument/2006/relationships/tableStyles" Target="tableStyles.xml"/><Relationship Id="rId33" Type="http://schemas.microsoft.com/office/2015/10/relationships/revisionInfo" Target="revisionInfo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  <a:t>2019/11/25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849815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9532773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8284143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46562351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1337291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5" name="isḷidé">
            <a:extLst>
              <a:ext uri="{FF2B5EF4-FFF2-40B4-BE49-F238E27FC236}">
                <a16:creationId xmlns="" xmlns:a16="http://schemas.microsoft.com/office/drawing/2014/main" id="{421A1E40-8FE0-4B19-A050-BAF4E001F5BD}"/>
              </a:ext>
            </a:extLst>
          </p:cNvPr>
          <p:cNvGrpSpPr/>
          <p:nvPr userDrawn="1"/>
        </p:nvGrpSpPr>
        <p:grpSpPr>
          <a:xfrm flipH="1">
            <a:off x="1140660" y="4191481"/>
            <a:ext cx="2807116" cy="1456619"/>
            <a:chOff x="107951" y="2128838"/>
            <a:chExt cx="6645275" cy="3994150"/>
          </a:xfrm>
          <a:solidFill>
            <a:schemeClr val="accent5">
              <a:lumMod val="20000"/>
              <a:lumOff val="80000"/>
            </a:schemeClr>
          </a:solidFill>
        </p:grpSpPr>
        <p:sp>
          <p:nvSpPr>
            <p:cNvPr id="56" name="íŝḻïḓè">
              <a:extLst>
                <a:ext uri="{FF2B5EF4-FFF2-40B4-BE49-F238E27FC236}">
                  <a16:creationId xmlns="" xmlns:a16="http://schemas.microsoft.com/office/drawing/2014/main" id="{AE1CA999-4493-428F-ACF7-BA8F6B7DFE09}"/>
                </a:ext>
              </a:extLst>
            </p:cNvPr>
            <p:cNvSpPr/>
            <p:nvPr/>
          </p:nvSpPr>
          <p:spPr bwMode="auto">
            <a:xfrm>
              <a:off x="1074738" y="3060700"/>
              <a:ext cx="844550" cy="3062288"/>
            </a:xfrm>
            <a:custGeom>
              <a:avLst/>
              <a:gdLst>
                <a:gd name="T0" fmla="*/ 0 w 532"/>
                <a:gd name="T1" fmla="*/ 355 h 1929"/>
                <a:gd name="T2" fmla="*/ 0 w 532"/>
                <a:gd name="T3" fmla="*/ 1929 h 1929"/>
                <a:gd name="T4" fmla="*/ 532 w 532"/>
                <a:gd name="T5" fmla="*/ 1929 h 1929"/>
                <a:gd name="T6" fmla="*/ 532 w 532"/>
                <a:gd name="T7" fmla="*/ 0 h 1929"/>
                <a:gd name="T8" fmla="*/ 0 w 532"/>
                <a:gd name="T9" fmla="*/ 355 h 1929"/>
                <a:gd name="T10" fmla="*/ 69 w 532"/>
                <a:gd name="T11" fmla="*/ 1502 h 1929"/>
                <a:gd name="T12" fmla="*/ 462 w 532"/>
                <a:gd name="T13" fmla="*/ 1502 h 1929"/>
                <a:gd name="T14" fmla="*/ 462 w 532"/>
                <a:gd name="T15" fmla="*/ 1543 h 1929"/>
                <a:gd name="T16" fmla="*/ 69 w 532"/>
                <a:gd name="T17" fmla="*/ 1543 h 1929"/>
                <a:gd name="T18" fmla="*/ 69 w 532"/>
                <a:gd name="T19" fmla="*/ 1502 h 1929"/>
                <a:gd name="T20" fmla="*/ 69 w 532"/>
                <a:gd name="T21" fmla="*/ 1387 h 1929"/>
                <a:gd name="T22" fmla="*/ 462 w 532"/>
                <a:gd name="T23" fmla="*/ 1387 h 1929"/>
                <a:gd name="T24" fmla="*/ 462 w 532"/>
                <a:gd name="T25" fmla="*/ 1428 h 1929"/>
                <a:gd name="T26" fmla="*/ 69 w 532"/>
                <a:gd name="T27" fmla="*/ 1428 h 1929"/>
                <a:gd name="T28" fmla="*/ 69 w 532"/>
                <a:gd name="T29" fmla="*/ 1387 h 1929"/>
                <a:gd name="T30" fmla="*/ 69 w 532"/>
                <a:gd name="T31" fmla="*/ 1272 h 1929"/>
                <a:gd name="T32" fmla="*/ 462 w 532"/>
                <a:gd name="T33" fmla="*/ 1272 h 1929"/>
                <a:gd name="T34" fmla="*/ 462 w 532"/>
                <a:gd name="T35" fmla="*/ 1315 h 1929"/>
                <a:gd name="T36" fmla="*/ 69 w 532"/>
                <a:gd name="T37" fmla="*/ 1315 h 1929"/>
                <a:gd name="T38" fmla="*/ 69 w 532"/>
                <a:gd name="T39" fmla="*/ 1272 h 1929"/>
                <a:gd name="T40" fmla="*/ 69 w 532"/>
                <a:gd name="T41" fmla="*/ 1157 h 1929"/>
                <a:gd name="T42" fmla="*/ 462 w 532"/>
                <a:gd name="T43" fmla="*/ 1157 h 1929"/>
                <a:gd name="T44" fmla="*/ 462 w 532"/>
                <a:gd name="T45" fmla="*/ 1200 h 1929"/>
                <a:gd name="T46" fmla="*/ 69 w 532"/>
                <a:gd name="T47" fmla="*/ 1200 h 1929"/>
                <a:gd name="T48" fmla="*/ 69 w 532"/>
                <a:gd name="T49" fmla="*/ 1157 h 1929"/>
                <a:gd name="T50" fmla="*/ 69 w 532"/>
                <a:gd name="T51" fmla="*/ 1044 h 1929"/>
                <a:gd name="T52" fmla="*/ 462 w 532"/>
                <a:gd name="T53" fmla="*/ 1044 h 1929"/>
                <a:gd name="T54" fmla="*/ 462 w 532"/>
                <a:gd name="T55" fmla="*/ 1085 h 1929"/>
                <a:gd name="T56" fmla="*/ 69 w 532"/>
                <a:gd name="T57" fmla="*/ 1085 h 1929"/>
                <a:gd name="T58" fmla="*/ 69 w 532"/>
                <a:gd name="T59" fmla="*/ 1044 h 1929"/>
                <a:gd name="T60" fmla="*/ 69 w 532"/>
                <a:gd name="T61" fmla="*/ 929 h 1929"/>
                <a:gd name="T62" fmla="*/ 462 w 532"/>
                <a:gd name="T63" fmla="*/ 929 h 1929"/>
                <a:gd name="T64" fmla="*/ 462 w 532"/>
                <a:gd name="T65" fmla="*/ 969 h 1929"/>
                <a:gd name="T66" fmla="*/ 69 w 532"/>
                <a:gd name="T67" fmla="*/ 969 h 1929"/>
                <a:gd name="T68" fmla="*/ 69 w 532"/>
                <a:gd name="T69" fmla="*/ 929 h 1929"/>
                <a:gd name="T70" fmla="*/ 69 w 532"/>
                <a:gd name="T71" fmla="*/ 814 h 1929"/>
                <a:gd name="T72" fmla="*/ 462 w 532"/>
                <a:gd name="T73" fmla="*/ 814 h 1929"/>
                <a:gd name="T74" fmla="*/ 462 w 532"/>
                <a:gd name="T75" fmla="*/ 854 h 1929"/>
                <a:gd name="T76" fmla="*/ 69 w 532"/>
                <a:gd name="T77" fmla="*/ 854 h 1929"/>
                <a:gd name="T78" fmla="*/ 69 w 532"/>
                <a:gd name="T79" fmla="*/ 814 h 1929"/>
                <a:gd name="T80" fmla="*/ 69 w 532"/>
                <a:gd name="T81" fmla="*/ 698 h 1929"/>
                <a:gd name="T82" fmla="*/ 462 w 532"/>
                <a:gd name="T83" fmla="*/ 698 h 1929"/>
                <a:gd name="T84" fmla="*/ 462 w 532"/>
                <a:gd name="T85" fmla="*/ 739 h 1929"/>
                <a:gd name="T86" fmla="*/ 69 w 532"/>
                <a:gd name="T87" fmla="*/ 739 h 1929"/>
                <a:gd name="T88" fmla="*/ 69 w 532"/>
                <a:gd name="T89" fmla="*/ 698 h 1929"/>
                <a:gd name="T90" fmla="*/ 69 w 532"/>
                <a:gd name="T91" fmla="*/ 583 h 1929"/>
                <a:gd name="T92" fmla="*/ 462 w 532"/>
                <a:gd name="T93" fmla="*/ 583 h 1929"/>
                <a:gd name="T94" fmla="*/ 462 w 532"/>
                <a:gd name="T95" fmla="*/ 626 h 1929"/>
                <a:gd name="T96" fmla="*/ 69 w 532"/>
                <a:gd name="T97" fmla="*/ 626 h 1929"/>
                <a:gd name="T98" fmla="*/ 69 w 532"/>
                <a:gd name="T99" fmla="*/ 583 h 1929"/>
                <a:gd name="T100" fmla="*/ 69 w 532"/>
                <a:gd name="T101" fmla="*/ 468 h 1929"/>
                <a:gd name="T102" fmla="*/ 462 w 532"/>
                <a:gd name="T103" fmla="*/ 468 h 1929"/>
                <a:gd name="T104" fmla="*/ 462 w 532"/>
                <a:gd name="T105" fmla="*/ 511 h 1929"/>
                <a:gd name="T106" fmla="*/ 69 w 532"/>
                <a:gd name="T107" fmla="*/ 511 h 1929"/>
                <a:gd name="T108" fmla="*/ 69 w 532"/>
                <a:gd name="T109" fmla="*/ 468 h 19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532" h="1929">
                  <a:moveTo>
                    <a:pt x="0" y="355"/>
                  </a:moveTo>
                  <a:lnTo>
                    <a:pt x="0" y="1929"/>
                  </a:lnTo>
                  <a:lnTo>
                    <a:pt x="532" y="1929"/>
                  </a:lnTo>
                  <a:lnTo>
                    <a:pt x="532" y="0"/>
                  </a:lnTo>
                  <a:lnTo>
                    <a:pt x="0" y="355"/>
                  </a:lnTo>
                  <a:close/>
                  <a:moveTo>
                    <a:pt x="69" y="1502"/>
                  </a:moveTo>
                  <a:lnTo>
                    <a:pt x="462" y="1502"/>
                  </a:lnTo>
                  <a:lnTo>
                    <a:pt x="462" y="1543"/>
                  </a:lnTo>
                  <a:lnTo>
                    <a:pt x="69" y="1543"/>
                  </a:lnTo>
                  <a:lnTo>
                    <a:pt x="69" y="1502"/>
                  </a:lnTo>
                  <a:close/>
                  <a:moveTo>
                    <a:pt x="69" y="1387"/>
                  </a:moveTo>
                  <a:lnTo>
                    <a:pt x="462" y="1387"/>
                  </a:lnTo>
                  <a:lnTo>
                    <a:pt x="462" y="1428"/>
                  </a:lnTo>
                  <a:lnTo>
                    <a:pt x="69" y="1428"/>
                  </a:lnTo>
                  <a:lnTo>
                    <a:pt x="69" y="1387"/>
                  </a:lnTo>
                  <a:close/>
                  <a:moveTo>
                    <a:pt x="69" y="1272"/>
                  </a:moveTo>
                  <a:lnTo>
                    <a:pt x="462" y="1272"/>
                  </a:lnTo>
                  <a:lnTo>
                    <a:pt x="462" y="1315"/>
                  </a:lnTo>
                  <a:lnTo>
                    <a:pt x="69" y="1315"/>
                  </a:lnTo>
                  <a:lnTo>
                    <a:pt x="69" y="1272"/>
                  </a:lnTo>
                  <a:close/>
                  <a:moveTo>
                    <a:pt x="69" y="1157"/>
                  </a:moveTo>
                  <a:lnTo>
                    <a:pt x="462" y="1157"/>
                  </a:lnTo>
                  <a:lnTo>
                    <a:pt x="462" y="1200"/>
                  </a:lnTo>
                  <a:lnTo>
                    <a:pt x="69" y="1200"/>
                  </a:lnTo>
                  <a:lnTo>
                    <a:pt x="69" y="1157"/>
                  </a:lnTo>
                  <a:close/>
                  <a:moveTo>
                    <a:pt x="69" y="1044"/>
                  </a:moveTo>
                  <a:lnTo>
                    <a:pt x="462" y="1044"/>
                  </a:lnTo>
                  <a:lnTo>
                    <a:pt x="462" y="1085"/>
                  </a:lnTo>
                  <a:lnTo>
                    <a:pt x="69" y="1085"/>
                  </a:lnTo>
                  <a:lnTo>
                    <a:pt x="69" y="1044"/>
                  </a:lnTo>
                  <a:close/>
                  <a:moveTo>
                    <a:pt x="69" y="929"/>
                  </a:moveTo>
                  <a:lnTo>
                    <a:pt x="462" y="929"/>
                  </a:lnTo>
                  <a:lnTo>
                    <a:pt x="462" y="969"/>
                  </a:lnTo>
                  <a:lnTo>
                    <a:pt x="69" y="969"/>
                  </a:lnTo>
                  <a:lnTo>
                    <a:pt x="69" y="929"/>
                  </a:lnTo>
                  <a:close/>
                  <a:moveTo>
                    <a:pt x="69" y="814"/>
                  </a:moveTo>
                  <a:lnTo>
                    <a:pt x="462" y="814"/>
                  </a:lnTo>
                  <a:lnTo>
                    <a:pt x="462" y="854"/>
                  </a:lnTo>
                  <a:lnTo>
                    <a:pt x="69" y="854"/>
                  </a:lnTo>
                  <a:lnTo>
                    <a:pt x="69" y="814"/>
                  </a:lnTo>
                  <a:close/>
                  <a:moveTo>
                    <a:pt x="69" y="698"/>
                  </a:moveTo>
                  <a:lnTo>
                    <a:pt x="462" y="698"/>
                  </a:lnTo>
                  <a:lnTo>
                    <a:pt x="462" y="739"/>
                  </a:lnTo>
                  <a:lnTo>
                    <a:pt x="69" y="739"/>
                  </a:lnTo>
                  <a:lnTo>
                    <a:pt x="69" y="698"/>
                  </a:lnTo>
                  <a:close/>
                  <a:moveTo>
                    <a:pt x="69" y="583"/>
                  </a:moveTo>
                  <a:lnTo>
                    <a:pt x="462" y="583"/>
                  </a:lnTo>
                  <a:lnTo>
                    <a:pt x="462" y="626"/>
                  </a:lnTo>
                  <a:lnTo>
                    <a:pt x="69" y="626"/>
                  </a:lnTo>
                  <a:lnTo>
                    <a:pt x="69" y="583"/>
                  </a:lnTo>
                  <a:close/>
                  <a:moveTo>
                    <a:pt x="69" y="468"/>
                  </a:moveTo>
                  <a:lnTo>
                    <a:pt x="462" y="468"/>
                  </a:lnTo>
                  <a:lnTo>
                    <a:pt x="462" y="511"/>
                  </a:lnTo>
                  <a:lnTo>
                    <a:pt x="69" y="511"/>
                  </a:lnTo>
                  <a:lnTo>
                    <a:pt x="69" y="46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endParaRPr lang="ru-RU"/>
            </a:p>
          </p:txBody>
        </p:sp>
        <p:sp>
          <p:nvSpPr>
            <p:cNvPr id="57" name="iŝļïďe">
              <a:extLst>
                <a:ext uri="{FF2B5EF4-FFF2-40B4-BE49-F238E27FC236}">
                  <a16:creationId xmlns="" xmlns:a16="http://schemas.microsoft.com/office/drawing/2014/main" id="{E1CDC87C-6C78-4C46-9BD6-4E28F1FAF9B5}"/>
                </a:ext>
              </a:extLst>
            </p:cNvPr>
            <p:cNvSpPr/>
            <p:nvPr/>
          </p:nvSpPr>
          <p:spPr bwMode="auto">
            <a:xfrm>
              <a:off x="107951" y="3571875"/>
              <a:ext cx="844550" cy="2551113"/>
            </a:xfrm>
            <a:custGeom>
              <a:avLst/>
              <a:gdLst>
                <a:gd name="T0" fmla="*/ 0 w 532"/>
                <a:gd name="T1" fmla="*/ 314 h 1607"/>
                <a:gd name="T2" fmla="*/ 0 w 532"/>
                <a:gd name="T3" fmla="*/ 1607 h 1607"/>
                <a:gd name="T4" fmla="*/ 532 w 532"/>
                <a:gd name="T5" fmla="*/ 1607 h 1607"/>
                <a:gd name="T6" fmla="*/ 532 w 532"/>
                <a:gd name="T7" fmla="*/ 314 h 1607"/>
                <a:gd name="T8" fmla="*/ 347 w 532"/>
                <a:gd name="T9" fmla="*/ 314 h 1607"/>
                <a:gd name="T10" fmla="*/ 347 w 532"/>
                <a:gd name="T11" fmla="*/ 192 h 1607"/>
                <a:gd name="T12" fmla="*/ 242 w 532"/>
                <a:gd name="T13" fmla="*/ 192 h 1607"/>
                <a:gd name="T14" fmla="*/ 242 w 532"/>
                <a:gd name="T15" fmla="*/ 314 h 1607"/>
                <a:gd name="T16" fmla="*/ 163 w 532"/>
                <a:gd name="T17" fmla="*/ 314 h 1607"/>
                <a:gd name="T18" fmla="*/ 163 w 532"/>
                <a:gd name="T19" fmla="*/ 0 h 1607"/>
                <a:gd name="T20" fmla="*/ 55 w 532"/>
                <a:gd name="T21" fmla="*/ 0 h 1607"/>
                <a:gd name="T22" fmla="*/ 55 w 532"/>
                <a:gd name="T23" fmla="*/ 314 h 1607"/>
                <a:gd name="T24" fmla="*/ 0 w 532"/>
                <a:gd name="T25" fmla="*/ 314 h 1607"/>
                <a:gd name="T26" fmla="*/ 335 w 532"/>
                <a:gd name="T27" fmla="*/ 1226 h 1607"/>
                <a:gd name="T28" fmla="*/ 438 w 532"/>
                <a:gd name="T29" fmla="*/ 1226 h 1607"/>
                <a:gd name="T30" fmla="*/ 438 w 532"/>
                <a:gd name="T31" fmla="*/ 1329 h 1607"/>
                <a:gd name="T32" fmla="*/ 335 w 532"/>
                <a:gd name="T33" fmla="*/ 1329 h 1607"/>
                <a:gd name="T34" fmla="*/ 335 w 532"/>
                <a:gd name="T35" fmla="*/ 1226 h 1607"/>
                <a:gd name="T36" fmla="*/ 335 w 532"/>
                <a:gd name="T37" fmla="*/ 1034 h 1607"/>
                <a:gd name="T38" fmla="*/ 438 w 532"/>
                <a:gd name="T39" fmla="*/ 1034 h 1607"/>
                <a:gd name="T40" fmla="*/ 438 w 532"/>
                <a:gd name="T41" fmla="*/ 1137 h 1607"/>
                <a:gd name="T42" fmla="*/ 335 w 532"/>
                <a:gd name="T43" fmla="*/ 1137 h 1607"/>
                <a:gd name="T44" fmla="*/ 335 w 532"/>
                <a:gd name="T45" fmla="*/ 1034 h 1607"/>
                <a:gd name="T46" fmla="*/ 335 w 532"/>
                <a:gd name="T47" fmla="*/ 842 h 1607"/>
                <a:gd name="T48" fmla="*/ 438 w 532"/>
                <a:gd name="T49" fmla="*/ 842 h 1607"/>
                <a:gd name="T50" fmla="*/ 438 w 532"/>
                <a:gd name="T51" fmla="*/ 947 h 1607"/>
                <a:gd name="T52" fmla="*/ 335 w 532"/>
                <a:gd name="T53" fmla="*/ 947 h 1607"/>
                <a:gd name="T54" fmla="*/ 335 w 532"/>
                <a:gd name="T55" fmla="*/ 842 h 1607"/>
                <a:gd name="T56" fmla="*/ 335 w 532"/>
                <a:gd name="T57" fmla="*/ 652 h 1607"/>
                <a:gd name="T58" fmla="*/ 438 w 532"/>
                <a:gd name="T59" fmla="*/ 652 h 1607"/>
                <a:gd name="T60" fmla="*/ 438 w 532"/>
                <a:gd name="T61" fmla="*/ 755 h 1607"/>
                <a:gd name="T62" fmla="*/ 335 w 532"/>
                <a:gd name="T63" fmla="*/ 755 h 1607"/>
                <a:gd name="T64" fmla="*/ 335 w 532"/>
                <a:gd name="T65" fmla="*/ 652 h 1607"/>
                <a:gd name="T66" fmla="*/ 335 w 532"/>
                <a:gd name="T67" fmla="*/ 460 h 1607"/>
                <a:gd name="T68" fmla="*/ 438 w 532"/>
                <a:gd name="T69" fmla="*/ 460 h 1607"/>
                <a:gd name="T70" fmla="*/ 438 w 532"/>
                <a:gd name="T71" fmla="*/ 566 h 1607"/>
                <a:gd name="T72" fmla="*/ 335 w 532"/>
                <a:gd name="T73" fmla="*/ 566 h 1607"/>
                <a:gd name="T74" fmla="*/ 335 w 532"/>
                <a:gd name="T75" fmla="*/ 460 h 1607"/>
                <a:gd name="T76" fmla="*/ 93 w 532"/>
                <a:gd name="T77" fmla="*/ 1226 h 1607"/>
                <a:gd name="T78" fmla="*/ 196 w 532"/>
                <a:gd name="T79" fmla="*/ 1226 h 1607"/>
                <a:gd name="T80" fmla="*/ 196 w 532"/>
                <a:gd name="T81" fmla="*/ 1329 h 1607"/>
                <a:gd name="T82" fmla="*/ 93 w 532"/>
                <a:gd name="T83" fmla="*/ 1329 h 1607"/>
                <a:gd name="T84" fmla="*/ 93 w 532"/>
                <a:gd name="T85" fmla="*/ 1226 h 1607"/>
                <a:gd name="T86" fmla="*/ 93 w 532"/>
                <a:gd name="T87" fmla="*/ 1034 h 1607"/>
                <a:gd name="T88" fmla="*/ 196 w 532"/>
                <a:gd name="T89" fmla="*/ 1034 h 1607"/>
                <a:gd name="T90" fmla="*/ 196 w 532"/>
                <a:gd name="T91" fmla="*/ 1137 h 1607"/>
                <a:gd name="T92" fmla="*/ 93 w 532"/>
                <a:gd name="T93" fmla="*/ 1137 h 1607"/>
                <a:gd name="T94" fmla="*/ 93 w 532"/>
                <a:gd name="T95" fmla="*/ 1034 h 1607"/>
                <a:gd name="T96" fmla="*/ 93 w 532"/>
                <a:gd name="T97" fmla="*/ 842 h 1607"/>
                <a:gd name="T98" fmla="*/ 196 w 532"/>
                <a:gd name="T99" fmla="*/ 842 h 1607"/>
                <a:gd name="T100" fmla="*/ 196 w 532"/>
                <a:gd name="T101" fmla="*/ 947 h 1607"/>
                <a:gd name="T102" fmla="*/ 93 w 532"/>
                <a:gd name="T103" fmla="*/ 947 h 1607"/>
                <a:gd name="T104" fmla="*/ 93 w 532"/>
                <a:gd name="T105" fmla="*/ 842 h 1607"/>
                <a:gd name="T106" fmla="*/ 93 w 532"/>
                <a:gd name="T107" fmla="*/ 652 h 1607"/>
                <a:gd name="T108" fmla="*/ 196 w 532"/>
                <a:gd name="T109" fmla="*/ 652 h 1607"/>
                <a:gd name="T110" fmla="*/ 196 w 532"/>
                <a:gd name="T111" fmla="*/ 755 h 1607"/>
                <a:gd name="T112" fmla="*/ 93 w 532"/>
                <a:gd name="T113" fmla="*/ 755 h 1607"/>
                <a:gd name="T114" fmla="*/ 93 w 532"/>
                <a:gd name="T115" fmla="*/ 652 h 1607"/>
                <a:gd name="T116" fmla="*/ 93 w 532"/>
                <a:gd name="T117" fmla="*/ 460 h 1607"/>
                <a:gd name="T118" fmla="*/ 196 w 532"/>
                <a:gd name="T119" fmla="*/ 460 h 1607"/>
                <a:gd name="T120" fmla="*/ 196 w 532"/>
                <a:gd name="T121" fmla="*/ 566 h 1607"/>
                <a:gd name="T122" fmla="*/ 93 w 532"/>
                <a:gd name="T123" fmla="*/ 566 h 1607"/>
                <a:gd name="T124" fmla="*/ 93 w 532"/>
                <a:gd name="T125" fmla="*/ 460 h 16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532" h="1607">
                  <a:moveTo>
                    <a:pt x="0" y="314"/>
                  </a:moveTo>
                  <a:lnTo>
                    <a:pt x="0" y="1607"/>
                  </a:lnTo>
                  <a:lnTo>
                    <a:pt x="532" y="1607"/>
                  </a:lnTo>
                  <a:lnTo>
                    <a:pt x="532" y="314"/>
                  </a:lnTo>
                  <a:lnTo>
                    <a:pt x="347" y="314"/>
                  </a:lnTo>
                  <a:lnTo>
                    <a:pt x="347" y="192"/>
                  </a:lnTo>
                  <a:lnTo>
                    <a:pt x="242" y="192"/>
                  </a:lnTo>
                  <a:lnTo>
                    <a:pt x="242" y="314"/>
                  </a:lnTo>
                  <a:lnTo>
                    <a:pt x="163" y="314"/>
                  </a:lnTo>
                  <a:lnTo>
                    <a:pt x="163" y="0"/>
                  </a:lnTo>
                  <a:lnTo>
                    <a:pt x="55" y="0"/>
                  </a:lnTo>
                  <a:lnTo>
                    <a:pt x="55" y="314"/>
                  </a:lnTo>
                  <a:lnTo>
                    <a:pt x="0" y="314"/>
                  </a:lnTo>
                  <a:close/>
                  <a:moveTo>
                    <a:pt x="335" y="1226"/>
                  </a:moveTo>
                  <a:lnTo>
                    <a:pt x="438" y="1226"/>
                  </a:lnTo>
                  <a:lnTo>
                    <a:pt x="438" y="1329"/>
                  </a:lnTo>
                  <a:lnTo>
                    <a:pt x="335" y="1329"/>
                  </a:lnTo>
                  <a:lnTo>
                    <a:pt x="335" y="1226"/>
                  </a:lnTo>
                  <a:close/>
                  <a:moveTo>
                    <a:pt x="335" y="1034"/>
                  </a:moveTo>
                  <a:lnTo>
                    <a:pt x="438" y="1034"/>
                  </a:lnTo>
                  <a:lnTo>
                    <a:pt x="438" y="1137"/>
                  </a:lnTo>
                  <a:lnTo>
                    <a:pt x="335" y="1137"/>
                  </a:lnTo>
                  <a:lnTo>
                    <a:pt x="335" y="1034"/>
                  </a:lnTo>
                  <a:close/>
                  <a:moveTo>
                    <a:pt x="335" y="842"/>
                  </a:moveTo>
                  <a:lnTo>
                    <a:pt x="438" y="842"/>
                  </a:lnTo>
                  <a:lnTo>
                    <a:pt x="438" y="947"/>
                  </a:lnTo>
                  <a:lnTo>
                    <a:pt x="335" y="947"/>
                  </a:lnTo>
                  <a:lnTo>
                    <a:pt x="335" y="842"/>
                  </a:lnTo>
                  <a:close/>
                  <a:moveTo>
                    <a:pt x="335" y="652"/>
                  </a:moveTo>
                  <a:lnTo>
                    <a:pt x="438" y="652"/>
                  </a:lnTo>
                  <a:lnTo>
                    <a:pt x="438" y="755"/>
                  </a:lnTo>
                  <a:lnTo>
                    <a:pt x="335" y="755"/>
                  </a:lnTo>
                  <a:lnTo>
                    <a:pt x="335" y="652"/>
                  </a:lnTo>
                  <a:close/>
                  <a:moveTo>
                    <a:pt x="335" y="460"/>
                  </a:moveTo>
                  <a:lnTo>
                    <a:pt x="438" y="460"/>
                  </a:lnTo>
                  <a:lnTo>
                    <a:pt x="438" y="566"/>
                  </a:lnTo>
                  <a:lnTo>
                    <a:pt x="335" y="566"/>
                  </a:lnTo>
                  <a:lnTo>
                    <a:pt x="335" y="460"/>
                  </a:lnTo>
                  <a:close/>
                  <a:moveTo>
                    <a:pt x="93" y="1226"/>
                  </a:moveTo>
                  <a:lnTo>
                    <a:pt x="196" y="1226"/>
                  </a:lnTo>
                  <a:lnTo>
                    <a:pt x="196" y="1329"/>
                  </a:lnTo>
                  <a:lnTo>
                    <a:pt x="93" y="1329"/>
                  </a:lnTo>
                  <a:lnTo>
                    <a:pt x="93" y="1226"/>
                  </a:lnTo>
                  <a:close/>
                  <a:moveTo>
                    <a:pt x="93" y="1034"/>
                  </a:moveTo>
                  <a:lnTo>
                    <a:pt x="196" y="1034"/>
                  </a:lnTo>
                  <a:lnTo>
                    <a:pt x="196" y="1137"/>
                  </a:lnTo>
                  <a:lnTo>
                    <a:pt x="93" y="1137"/>
                  </a:lnTo>
                  <a:lnTo>
                    <a:pt x="93" y="1034"/>
                  </a:lnTo>
                  <a:close/>
                  <a:moveTo>
                    <a:pt x="93" y="842"/>
                  </a:moveTo>
                  <a:lnTo>
                    <a:pt x="196" y="842"/>
                  </a:lnTo>
                  <a:lnTo>
                    <a:pt x="196" y="947"/>
                  </a:lnTo>
                  <a:lnTo>
                    <a:pt x="93" y="947"/>
                  </a:lnTo>
                  <a:lnTo>
                    <a:pt x="93" y="842"/>
                  </a:lnTo>
                  <a:close/>
                  <a:moveTo>
                    <a:pt x="93" y="652"/>
                  </a:moveTo>
                  <a:lnTo>
                    <a:pt x="196" y="652"/>
                  </a:lnTo>
                  <a:lnTo>
                    <a:pt x="196" y="755"/>
                  </a:lnTo>
                  <a:lnTo>
                    <a:pt x="93" y="755"/>
                  </a:lnTo>
                  <a:lnTo>
                    <a:pt x="93" y="652"/>
                  </a:lnTo>
                  <a:close/>
                  <a:moveTo>
                    <a:pt x="93" y="460"/>
                  </a:moveTo>
                  <a:lnTo>
                    <a:pt x="196" y="460"/>
                  </a:lnTo>
                  <a:lnTo>
                    <a:pt x="196" y="566"/>
                  </a:lnTo>
                  <a:lnTo>
                    <a:pt x="93" y="566"/>
                  </a:lnTo>
                  <a:lnTo>
                    <a:pt x="93" y="4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endParaRPr lang="ru-RU"/>
            </a:p>
          </p:txBody>
        </p:sp>
        <p:sp>
          <p:nvSpPr>
            <p:cNvPr id="58" name="işḻîdê">
              <a:extLst>
                <a:ext uri="{FF2B5EF4-FFF2-40B4-BE49-F238E27FC236}">
                  <a16:creationId xmlns="" xmlns:a16="http://schemas.microsoft.com/office/drawing/2014/main" id="{D605F642-22D8-4E37-8D97-D01976A65A8A}"/>
                </a:ext>
              </a:extLst>
            </p:cNvPr>
            <p:cNvSpPr/>
            <p:nvPr/>
          </p:nvSpPr>
          <p:spPr bwMode="auto">
            <a:xfrm>
              <a:off x="3008313" y="2128838"/>
              <a:ext cx="844550" cy="3994150"/>
            </a:xfrm>
            <a:custGeom>
              <a:avLst/>
              <a:gdLst>
                <a:gd name="T0" fmla="*/ 0 w 532"/>
                <a:gd name="T1" fmla="*/ 463 h 2516"/>
                <a:gd name="T2" fmla="*/ 0 w 532"/>
                <a:gd name="T3" fmla="*/ 2516 h 2516"/>
                <a:gd name="T4" fmla="*/ 532 w 532"/>
                <a:gd name="T5" fmla="*/ 2516 h 2516"/>
                <a:gd name="T6" fmla="*/ 532 w 532"/>
                <a:gd name="T7" fmla="*/ 463 h 2516"/>
                <a:gd name="T8" fmla="*/ 258 w 532"/>
                <a:gd name="T9" fmla="*/ 0 h 2516"/>
                <a:gd name="T10" fmla="*/ 0 w 532"/>
                <a:gd name="T11" fmla="*/ 463 h 2516"/>
                <a:gd name="T12" fmla="*/ 371 w 532"/>
                <a:gd name="T13" fmla="*/ 1832 h 2516"/>
                <a:gd name="T14" fmla="*/ 443 w 532"/>
                <a:gd name="T15" fmla="*/ 1832 h 2516"/>
                <a:gd name="T16" fmla="*/ 443 w 532"/>
                <a:gd name="T17" fmla="*/ 2139 h 2516"/>
                <a:gd name="T18" fmla="*/ 371 w 532"/>
                <a:gd name="T19" fmla="*/ 2139 h 2516"/>
                <a:gd name="T20" fmla="*/ 371 w 532"/>
                <a:gd name="T21" fmla="*/ 1832 h 2516"/>
                <a:gd name="T22" fmla="*/ 371 w 532"/>
                <a:gd name="T23" fmla="*/ 1432 h 2516"/>
                <a:gd name="T24" fmla="*/ 443 w 532"/>
                <a:gd name="T25" fmla="*/ 1432 h 2516"/>
                <a:gd name="T26" fmla="*/ 443 w 532"/>
                <a:gd name="T27" fmla="*/ 1739 h 2516"/>
                <a:gd name="T28" fmla="*/ 371 w 532"/>
                <a:gd name="T29" fmla="*/ 1739 h 2516"/>
                <a:gd name="T30" fmla="*/ 371 w 532"/>
                <a:gd name="T31" fmla="*/ 1432 h 2516"/>
                <a:gd name="T32" fmla="*/ 371 w 532"/>
                <a:gd name="T33" fmla="*/ 630 h 2516"/>
                <a:gd name="T34" fmla="*/ 443 w 532"/>
                <a:gd name="T35" fmla="*/ 630 h 2516"/>
                <a:gd name="T36" fmla="*/ 443 w 532"/>
                <a:gd name="T37" fmla="*/ 938 h 2516"/>
                <a:gd name="T38" fmla="*/ 371 w 532"/>
                <a:gd name="T39" fmla="*/ 938 h 2516"/>
                <a:gd name="T40" fmla="*/ 371 w 532"/>
                <a:gd name="T41" fmla="*/ 630 h 2516"/>
                <a:gd name="T42" fmla="*/ 230 w 532"/>
                <a:gd name="T43" fmla="*/ 1832 h 2516"/>
                <a:gd name="T44" fmla="*/ 302 w 532"/>
                <a:gd name="T45" fmla="*/ 1832 h 2516"/>
                <a:gd name="T46" fmla="*/ 302 w 532"/>
                <a:gd name="T47" fmla="*/ 2139 h 2516"/>
                <a:gd name="T48" fmla="*/ 230 w 532"/>
                <a:gd name="T49" fmla="*/ 2139 h 2516"/>
                <a:gd name="T50" fmla="*/ 230 w 532"/>
                <a:gd name="T51" fmla="*/ 1832 h 2516"/>
                <a:gd name="T52" fmla="*/ 230 w 532"/>
                <a:gd name="T53" fmla="*/ 1432 h 2516"/>
                <a:gd name="T54" fmla="*/ 302 w 532"/>
                <a:gd name="T55" fmla="*/ 1432 h 2516"/>
                <a:gd name="T56" fmla="*/ 302 w 532"/>
                <a:gd name="T57" fmla="*/ 1739 h 2516"/>
                <a:gd name="T58" fmla="*/ 230 w 532"/>
                <a:gd name="T59" fmla="*/ 1739 h 2516"/>
                <a:gd name="T60" fmla="*/ 230 w 532"/>
                <a:gd name="T61" fmla="*/ 1432 h 2516"/>
                <a:gd name="T62" fmla="*/ 230 w 532"/>
                <a:gd name="T63" fmla="*/ 1031 h 2516"/>
                <a:gd name="T64" fmla="*/ 302 w 532"/>
                <a:gd name="T65" fmla="*/ 1031 h 2516"/>
                <a:gd name="T66" fmla="*/ 302 w 532"/>
                <a:gd name="T67" fmla="*/ 1338 h 2516"/>
                <a:gd name="T68" fmla="*/ 230 w 532"/>
                <a:gd name="T69" fmla="*/ 1338 h 2516"/>
                <a:gd name="T70" fmla="*/ 230 w 532"/>
                <a:gd name="T71" fmla="*/ 1031 h 2516"/>
                <a:gd name="T72" fmla="*/ 230 w 532"/>
                <a:gd name="T73" fmla="*/ 630 h 2516"/>
                <a:gd name="T74" fmla="*/ 302 w 532"/>
                <a:gd name="T75" fmla="*/ 630 h 2516"/>
                <a:gd name="T76" fmla="*/ 302 w 532"/>
                <a:gd name="T77" fmla="*/ 938 h 2516"/>
                <a:gd name="T78" fmla="*/ 230 w 532"/>
                <a:gd name="T79" fmla="*/ 938 h 2516"/>
                <a:gd name="T80" fmla="*/ 230 w 532"/>
                <a:gd name="T81" fmla="*/ 630 h 2516"/>
                <a:gd name="T82" fmla="*/ 88 w 532"/>
                <a:gd name="T83" fmla="*/ 1832 h 2516"/>
                <a:gd name="T84" fmla="*/ 160 w 532"/>
                <a:gd name="T85" fmla="*/ 1832 h 2516"/>
                <a:gd name="T86" fmla="*/ 160 w 532"/>
                <a:gd name="T87" fmla="*/ 2139 h 2516"/>
                <a:gd name="T88" fmla="*/ 88 w 532"/>
                <a:gd name="T89" fmla="*/ 2139 h 2516"/>
                <a:gd name="T90" fmla="*/ 88 w 532"/>
                <a:gd name="T91" fmla="*/ 1832 h 2516"/>
                <a:gd name="T92" fmla="*/ 88 w 532"/>
                <a:gd name="T93" fmla="*/ 1031 h 2516"/>
                <a:gd name="T94" fmla="*/ 160 w 532"/>
                <a:gd name="T95" fmla="*/ 1031 h 2516"/>
                <a:gd name="T96" fmla="*/ 160 w 532"/>
                <a:gd name="T97" fmla="*/ 1338 h 2516"/>
                <a:gd name="T98" fmla="*/ 88 w 532"/>
                <a:gd name="T99" fmla="*/ 1338 h 2516"/>
                <a:gd name="T100" fmla="*/ 88 w 532"/>
                <a:gd name="T101" fmla="*/ 1031 h 25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532" h="2516">
                  <a:moveTo>
                    <a:pt x="0" y="463"/>
                  </a:moveTo>
                  <a:lnTo>
                    <a:pt x="0" y="2516"/>
                  </a:lnTo>
                  <a:lnTo>
                    <a:pt x="532" y="2516"/>
                  </a:lnTo>
                  <a:lnTo>
                    <a:pt x="532" y="463"/>
                  </a:lnTo>
                  <a:lnTo>
                    <a:pt x="258" y="0"/>
                  </a:lnTo>
                  <a:lnTo>
                    <a:pt x="0" y="463"/>
                  </a:lnTo>
                  <a:close/>
                  <a:moveTo>
                    <a:pt x="371" y="1832"/>
                  </a:moveTo>
                  <a:lnTo>
                    <a:pt x="443" y="1832"/>
                  </a:lnTo>
                  <a:lnTo>
                    <a:pt x="443" y="2139"/>
                  </a:lnTo>
                  <a:lnTo>
                    <a:pt x="371" y="2139"/>
                  </a:lnTo>
                  <a:lnTo>
                    <a:pt x="371" y="1832"/>
                  </a:lnTo>
                  <a:close/>
                  <a:moveTo>
                    <a:pt x="371" y="1432"/>
                  </a:moveTo>
                  <a:lnTo>
                    <a:pt x="443" y="1432"/>
                  </a:lnTo>
                  <a:lnTo>
                    <a:pt x="443" y="1739"/>
                  </a:lnTo>
                  <a:lnTo>
                    <a:pt x="371" y="1739"/>
                  </a:lnTo>
                  <a:lnTo>
                    <a:pt x="371" y="1432"/>
                  </a:lnTo>
                  <a:close/>
                  <a:moveTo>
                    <a:pt x="371" y="630"/>
                  </a:moveTo>
                  <a:lnTo>
                    <a:pt x="443" y="630"/>
                  </a:lnTo>
                  <a:lnTo>
                    <a:pt x="443" y="938"/>
                  </a:lnTo>
                  <a:lnTo>
                    <a:pt x="371" y="938"/>
                  </a:lnTo>
                  <a:lnTo>
                    <a:pt x="371" y="630"/>
                  </a:lnTo>
                  <a:close/>
                  <a:moveTo>
                    <a:pt x="230" y="1832"/>
                  </a:moveTo>
                  <a:lnTo>
                    <a:pt x="302" y="1832"/>
                  </a:lnTo>
                  <a:lnTo>
                    <a:pt x="302" y="2139"/>
                  </a:lnTo>
                  <a:lnTo>
                    <a:pt x="230" y="2139"/>
                  </a:lnTo>
                  <a:lnTo>
                    <a:pt x="230" y="1832"/>
                  </a:lnTo>
                  <a:close/>
                  <a:moveTo>
                    <a:pt x="230" y="1432"/>
                  </a:moveTo>
                  <a:lnTo>
                    <a:pt x="302" y="1432"/>
                  </a:lnTo>
                  <a:lnTo>
                    <a:pt x="302" y="1739"/>
                  </a:lnTo>
                  <a:lnTo>
                    <a:pt x="230" y="1739"/>
                  </a:lnTo>
                  <a:lnTo>
                    <a:pt x="230" y="1432"/>
                  </a:lnTo>
                  <a:close/>
                  <a:moveTo>
                    <a:pt x="230" y="1031"/>
                  </a:moveTo>
                  <a:lnTo>
                    <a:pt x="302" y="1031"/>
                  </a:lnTo>
                  <a:lnTo>
                    <a:pt x="302" y="1338"/>
                  </a:lnTo>
                  <a:lnTo>
                    <a:pt x="230" y="1338"/>
                  </a:lnTo>
                  <a:lnTo>
                    <a:pt x="230" y="1031"/>
                  </a:lnTo>
                  <a:close/>
                  <a:moveTo>
                    <a:pt x="230" y="630"/>
                  </a:moveTo>
                  <a:lnTo>
                    <a:pt x="302" y="630"/>
                  </a:lnTo>
                  <a:lnTo>
                    <a:pt x="302" y="938"/>
                  </a:lnTo>
                  <a:lnTo>
                    <a:pt x="230" y="938"/>
                  </a:lnTo>
                  <a:lnTo>
                    <a:pt x="230" y="630"/>
                  </a:lnTo>
                  <a:close/>
                  <a:moveTo>
                    <a:pt x="88" y="1832"/>
                  </a:moveTo>
                  <a:lnTo>
                    <a:pt x="160" y="1832"/>
                  </a:lnTo>
                  <a:lnTo>
                    <a:pt x="160" y="2139"/>
                  </a:lnTo>
                  <a:lnTo>
                    <a:pt x="88" y="2139"/>
                  </a:lnTo>
                  <a:lnTo>
                    <a:pt x="88" y="1832"/>
                  </a:lnTo>
                  <a:close/>
                  <a:moveTo>
                    <a:pt x="88" y="1031"/>
                  </a:moveTo>
                  <a:lnTo>
                    <a:pt x="160" y="1031"/>
                  </a:lnTo>
                  <a:lnTo>
                    <a:pt x="160" y="1338"/>
                  </a:lnTo>
                  <a:lnTo>
                    <a:pt x="88" y="1338"/>
                  </a:lnTo>
                  <a:lnTo>
                    <a:pt x="88" y="10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endParaRPr lang="ru-RU"/>
            </a:p>
          </p:txBody>
        </p:sp>
        <p:sp>
          <p:nvSpPr>
            <p:cNvPr id="59" name="îṡḻïḍê">
              <a:extLst>
                <a:ext uri="{FF2B5EF4-FFF2-40B4-BE49-F238E27FC236}">
                  <a16:creationId xmlns="" xmlns:a16="http://schemas.microsoft.com/office/drawing/2014/main" id="{1E1F8511-5F97-4FF3-B89B-BC440295D481}"/>
                </a:ext>
              </a:extLst>
            </p:cNvPr>
            <p:cNvSpPr/>
            <p:nvPr/>
          </p:nvSpPr>
          <p:spPr bwMode="auto">
            <a:xfrm>
              <a:off x="2041526" y="3784600"/>
              <a:ext cx="844550" cy="2338388"/>
            </a:xfrm>
            <a:custGeom>
              <a:avLst/>
              <a:gdLst>
                <a:gd name="T0" fmla="*/ 0 w 532"/>
                <a:gd name="T1" fmla="*/ 384 h 1473"/>
                <a:gd name="T2" fmla="*/ 0 w 532"/>
                <a:gd name="T3" fmla="*/ 1473 h 1473"/>
                <a:gd name="T4" fmla="*/ 532 w 532"/>
                <a:gd name="T5" fmla="*/ 1473 h 1473"/>
                <a:gd name="T6" fmla="*/ 532 w 532"/>
                <a:gd name="T7" fmla="*/ 384 h 1473"/>
                <a:gd name="T8" fmla="*/ 465 w 532"/>
                <a:gd name="T9" fmla="*/ 384 h 1473"/>
                <a:gd name="T10" fmla="*/ 465 w 532"/>
                <a:gd name="T11" fmla="*/ 283 h 1473"/>
                <a:gd name="T12" fmla="*/ 388 w 532"/>
                <a:gd name="T13" fmla="*/ 283 h 1473"/>
                <a:gd name="T14" fmla="*/ 388 w 532"/>
                <a:gd name="T15" fmla="*/ 0 h 1473"/>
                <a:gd name="T16" fmla="*/ 143 w 532"/>
                <a:gd name="T17" fmla="*/ 0 h 1473"/>
                <a:gd name="T18" fmla="*/ 143 w 532"/>
                <a:gd name="T19" fmla="*/ 283 h 1473"/>
                <a:gd name="T20" fmla="*/ 67 w 532"/>
                <a:gd name="T21" fmla="*/ 283 h 1473"/>
                <a:gd name="T22" fmla="*/ 67 w 532"/>
                <a:gd name="T23" fmla="*/ 384 h 1473"/>
                <a:gd name="T24" fmla="*/ 0 w 532"/>
                <a:gd name="T25" fmla="*/ 384 h 1473"/>
                <a:gd name="T26" fmla="*/ 362 w 532"/>
                <a:gd name="T27" fmla="*/ 1029 h 1473"/>
                <a:gd name="T28" fmla="*/ 457 w 532"/>
                <a:gd name="T29" fmla="*/ 1029 h 1473"/>
                <a:gd name="T30" fmla="*/ 457 w 532"/>
                <a:gd name="T31" fmla="*/ 1137 h 1473"/>
                <a:gd name="T32" fmla="*/ 362 w 532"/>
                <a:gd name="T33" fmla="*/ 1137 h 1473"/>
                <a:gd name="T34" fmla="*/ 362 w 532"/>
                <a:gd name="T35" fmla="*/ 1029 h 1473"/>
                <a:gd name="T36" fmla="*/ 362 w 532"/>
                <a:gd name="T37" fmla="*/ 681 h 1473"/>
                <a:gd name="T38" fmla="*/ 457 w 532"/>
                <a:gd name="T39" fmla="*/ 681 h 1473"/>
                <a:gd name="T40" fmla="*/ 457 w 532"/>
                <a:gd name="T41" fmla="*/ 792 h 1473"/>
                <a:gd name="T42" fmla="*/ 362 w 532"/>
                <a:gd name="T43" fmla="*/ 792 h 1473"/>
                <a:gd name="T44" fmla="*/ 362 w 532"/>
                <a:gd name="T45" fmla="*/ 681 h 1473"/>
                <a:gd name="T46" fmla="*/ 362 w 532"/>
                <a:gd name="T47" fmla="*/ 509 h 1473"/>
                <a:gd name="T48" fmla="*/ 457 w 532"/>
                <a:gd name="T49" fmla="*/ 509 h 1473"/>
                <a:gd name="T50" fmla="*/ 457 w 532"/>
                <a:gd name="T51" fmla="*/ 619 h 1473"/>
                <a:gd name="T52" fmla="*/ 362 w 532"/>
                <a:gd name="T53" fmla="*/ 619 h 1473"/>
                <a:gd name="T54" fmla="*/ 362 w 532"/>
                <a:gd name="T55" fmla="*/ 509 h 1473"/>
                <a:gd name="T56" fmla="*/ 218 w 532"/>
                <a:gd name="T57" fmla="*/ 854 h 1473"/>
                <a:gd name="T58" fmla="*/ 314 w 532"/>
                <a:gd name="T59" fmla="*/ 854 h 1473"/>
                <a:gd name="T60" fmla="*/ 314 w 532"/>
                <a:gd name="T61" fmla="*/ 964 h 1473"/>
                <a:gd name="T62" fmla="*/ 218 w 532"/>
                <a:gd name="T63" fmla="*/ 964 h 1473"/>
                <a:gd name="T64" fmla="*/ 218 w 532"/>
                <a:gd name="T65" fmla="*/ 854 h 1473"/>
                <a:gd name="T66" fmla="*/ 218 w 532"/>
                <a:gd name="T67" fmla="*/ 681 h 1473"/>
                <a:gd name="T68" fmla="*/ 314 w 532"/>
                <a:gd name="T69" fmla="*/ 681 h 1473"/>
                <a:gd name="T70" fmla="*/ 314 w 532"/>
                <a:gd name="T71" fmla="*/ 792 h 1473"/>
                <a:gd name="T72" fmla="*/ 218 w 532"/>
                <a:gd name="T73" fmla="*/ 792 h 1473"/>
                <a:gd name="T74" fmla="*/ 218 w 532"/>
                <a:gd name="T75" fmla="*/ 681 h 1473"/>
                <a:gd name="T76" fmla="*/ 218 w 532"/>
                <a:gd name="T77" fmla="*/ 509 h 1473"/>
                <a:gd name="T78" fmla="*/ 314 w 532"/>
                <a:gd name="T79" fmla="*/ 509 h 1473"/>
                <a:gd name="T80" fmla="*/ 314 w 532"/>
                <a:gd name="T81" fmla="*/ 619 h 1473"/>
                <a:gd name="T82" fmla="*/ 218 w 532"/>
                <a:gd name="T83" fmla="*/ 619 h 1473"/>
                <a:gd name="T84" fmla="*/ 218 w 532"/>
                <a:gd name="T85" fmla="*/ 509 h 1473"/>
                <a:gd name="T86" fmla="*/ 74 w 532"/>
                <a:gd name="T87" fmla="*/ 1029 h 1473"/>
                <a:gd name="T88" fmla="*/ 170 w 532"/>
                <a:gd name="T89" fmla="*/ 1029 h 1473"/>
                <a:gd name="T90" fmla="*/ 170 w 532"/>
                <a:gd name="T91" fmla="*/ 1137 h 1473"/>
                <a:gd name="T92" fmla="*/ 74 w 532"/>
                <a:gd name="T93" fmla="*/ 1137 h 1473"/>
                <a:gd name="T94" fmla="*/ 74 w 532"/>
                <a:gd name="T95" fmla="*/ 1029 h 1473"/>
                <a:gd name="T96" fmla="*/ 74 w 532"/>
                <a:gd name="T97" fmla="*/ 854 h 1473"/>
                <a:gd name="T98" fmla="*/ 170 w 532"/>
                <a:gd name="T99" fmla="*/ 854 h 1473"/>
                <a:gd name="T100" fmla="*/ 170 w 532"/>
                <a:gd name="T101" fmla="*/ 964 h 1473"/>
                <a:gd name="T102" fmla="*/ 74 w 532"/>
                <a:gd name="T103" fmla="*/ 964 h 1473"/>
                <a:gd name="T104" fmla="*/ 74 w 532"/>
                <a:gd name="T105" fmla="*/ 854 h 1473"/>
                <a:gd name="T106" fmla="*/ 74 w 532"/>
                <a:gd name="T107" fmla="*/ 681 h 1473"/>
                <a:gd name="T108" fmla="*/ 170 w 532"/>
                <a:gd name="T109" fmla="*/ 681 h 1473"/>
                <a:gd name="T110" fmla="*/ 170 w 532"/>
                <a:gd name="T111" fmla="*/ 792 h 1473"/>
                <a:gd name="T112" fmla="*/ 74 w 532"/>
                <a:gd name="T113" fmla="*/ 792 h 1473"/>
                <a:gd name="T114" fmla="*/ 74 w 532"/>
                <a:gd name="T115" fmla="*/ 681 h 14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532" h="1473">
                  <a:moveTo>
                    <a:pt x="0" y="384"/>
                  </a:moveTo>
                  <a:lnTo>
                    <a:pt x="0" y="1473"/>
                  </a:lnTo>
                  <a:lnTo>
                    <a:pt x="532" y="1473"/>
                  </a:lnTo>
                  <a:lnTo>
                    <a:pt x="532" y="384"/>
                  </a:lnTo>
                  <a:lnTo>
                    <a:pt x="465" y="384"/>
                  </a:lnTo>
                  <a:lnTo>
                    <a:pt x="465" y="283"/>
                  </a:lnTo>
                  <a:lnTo>
                    <a:pt x="388" y="283"/>
                  </a:lnTo>
                  <a:lnTo>
                    <a:pt x="388" y="0"/>
                  </a:lnTo>
                  <a:lnTo>
                    <a:pt x="143" y="0"/>
                  </a:lnTo>
                  <a:lnTo>
                    <a:pt x="143" y="283"/>
                  </a:lnTo>
                  <a:lnTo>
                    <a:pt x="67" y="283"/>
                  </a:lnTo>
                  <a:lnTo>
                    <a:pt x="67" y="384"/>
                  </a:lnTo>
                  <a:lnTo>
                    <a:pt x="0" y="384"/>
                  </a:lnTo>
                  <a:close/>
                  <a:moveTo>
                    <a:pt x="362" y="1029"/>
                  </a:moveTo>
                  <a:lnTo>
                    <a:pt x="457" y="1029"/>
                  </a:lnTo>
                  <a:lnTo>
                    <a:pt x="457" y="1137"/>
                  </a:lnTo>
                  <a:lnTo>
                    <a:pt x="362" y="1137"/>
                  </a:lnTo>
                  <a:lnTo>
                    <a:pt x="362" y="1029"/>
                  </a:lnTo>
                  <a:close/>
                  <a:moveTo>
                    <a:pt x="362" y="681"/>
                  </a:moveTo>
                  <a:lnTo>
                    <a:pt x="457" y="681"/>
                  </a:lnTo>
                  <a:lnTo>
                    <a:pt x="457" y="792"/>
                  </a:lnTo>
                  <a:lnTo>
                    <a:pt x="362" y="792"/>
                  </a:lnTo>
                  <a:lnTo>
                    <a:pt x="362" y="681"/>
                  </a:lnTo>
                  <a:close/>
                  <a:moveTo>
                    <a:pt x="362" y="509"/>
                  </a:moveTo>
                  <a:lnTo>
                    <a:pt x="457" y="509"/>
                  </a:lnTo>
                  <a:lnTo>
                    <a:pt x="457" y="619"/>
                  </a:lnTo>
                  <a:lnTo>
                    <a:pt x="362" y="619"/>
                  </a:lnTo>
                  <a:lnTo>
                    <a:pt x="362" y="509"/>
                  </a:lnTo>
                  <a:close/>
                  <a:moveTo>
                    <a:pt x="218" y="854"/>
                  </a:moveTo>
                  <a:lnTo>
                    <a:pt x="314" y="854"/>
                  </a:lnTo>
                  <a:lnTo>
                    <a:pt x="314" y="964"/>
                  </a:lnTo>
                  <a:lnTo>
                    <a:pt x="218" y="964"/>
                  </a:lnTo>
                  <a:lnTo>
                    <a:pt x="218" y="854"/>
                  </a:lnTo>
                  <a:close/>
                  <a:moveTo>
                    <a:pt x="218" y="681"/>
                  </a:moveTo>
                  <a:lnTo>
                    <a:pt x="314" y="681"/>
                  </a:lnTo>
                  <a:lnTo>
                    <a:pt x="314" y="792"/>
                  </a:lnTo>
                  <a:lnTo>
                    <a:pt x="218" y="792"/>
                  </a:lnTo>
                  <a:lnTo>
                    <a:pt x="218" y="681"/>
                  </a:lnTo>
                  <a:close/>
                  <a:moveTo>
                    <a:pt x="218" y="509"/>
                  </a:moveTo>
                  <a:lnTo>
                    <a:pt x="314" y="509"/>
                  </a:lnTo>
                  <a:lnTo>
                    <a:pt x="314" y="619"/>
                  </a:lnTo>
                  <a:lnTo>
                    <a:pt x="218" y="619"/>
                  </a:lnTo>
                  <a:lnTo>
                    <a:pt x="218" y="509"/>
                  </a:lnTo>
                  <a:close/>
                  <a:moveTo>
                    <a:pt x="74" y="1029"/>
                  </a:moveTo>
                  <a:lnTo>
                    <a:pt x="170" y="1029"/>
                  </a:lnTo>
                  <a:lnTo>
                    <a:pt x="170" y="1137"/>
                  </a:lnTo>
                  <a:lnTo>
                    <a:pt x="74" y="1137"/>
                  </a:lnTo>
                  <a:lnTo>
                    <a:pt x="74" y="1029"/>
                  </a:lnTo>
                  <a:close/>
                  <a:moveTo>
                    <a:pt x="74" y="854"/>
                  </a:moveTo>
                  <a:lnTo>
                    <a:pt x="170" y="854"/>
                  </a:lnTo>
                  <a:lnTo>
                    <a:pt x="170" y="964"/>
                  </a:lnTo>
                  <a:lnTo>
                    <a:pt x="74" y="964"/>
                  </a:lnTo>
                  <a:lnTo>
                    <a:pt x="74" y="854"/>
                  </a:lnTo>
                  <a:close/>
                  <a:moveTo>
                    <a:pt x="74" y="681"/>
                  </a:moveTo>
                  <a:lnTo>
                    <a:pt x="170" y="681"/>
                  </a:lnTo>
                  <a:lnTo>
                    <a:pt x="170" y="792"/>
                  </a:lnTo>
                  <a:lnTo>
                    <a:pt x="74" y="792"/>
                  </a:lnTo>
                  <a:lnTo>
                    <a:pt x="74" y="68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endParaRPr lang="ru-RU"/>
            </a:p>
          </p:txBody>
        </p:sp>
        <p:sp>
          <p:nvSpPr>
            <p:cNvPr id="60" name="iṧlïḋe">
              <a:extLst>
                <a:ext uri="{FF2B5EF4-FFF2-40B4-BE49-F238E27FC236}">
                  <a16:creationId xmlns="" xmlns:a16="http://schemas.microsoft.com/office/drawing/2014/main" id="{E5C31136-9518-488D-A7BA-0E92E84E8BE9}"/>
                </a:ext>
              </a:extLst>
            </p:cNvPr>
            <p:cNvSpPr/>
            <p:nvPr/>
          </p:nvSpPr>
          <p:spPr bwMode="auto">
            <a:xfrm>
              <a:off x="4940301" y="3128963"/>
              <a:ext cx="846138" cy="2994025"/>
            </a:xfrm>
            <a:custGeom>
              <a:avLst/>
              <a:gdLst>
                <a:gd name="T0" fmla="*/ 0 w 533"/>
                <a:gd name="T1" fmla="*/ 1886 h 1886"/>
                <a:gd name="T2" fmla="*/ 533 w 533"/>
                <a:gd name="T3" fmla="*/ 92 h 1886"/>
                <a:gd name="T4" fmla="*/ 487 w 533"/>
                <a:gd name="T5" fmla="*/ 0 h 1886"/>
                <a:gd name="T6" fmla="*/ 202 w 533"/>
                <a:gd name="T7" fmla="*/ 92 h 1886"/>
                <a:gd name="T8" fmla="*/ 310 w 533"/>
                <a:gd name="T9" fmla="*/ 1466 h 1886"/>
                <a:gd name="T10" fmla="*/ 456 w 533"/>
                <a:gd name="T11" fmla="*/ 1517 h 1886"/>
                <a:gd name="T12" fmla="*/ 310 w 533"/>
                <a:gd name="T13" fmla="*/ 1466 h 1886"/>
                <a:gd name="T14" fmla="*/ 456 w 533"/>
                <a:gd name="T15" fmla="*/ 1346 h 1886"/>
                <a:gd name="T16" fmla="*/ 310 w 533"/>
                <a:gd name="T17" fmla="*/ 1397 h 1886"/>
                <a:gd name="T18" fmla="*/ 310 w 533"/>
                <a:gd name="T19" fmla="*/ 1226 h 1886"/>
                <a:gd name="T20" fmla="*/ 456 w 533"/>
                <a:gd name="T21" fmla="*/ 1277 h 1886"/>
                <a:gd name="T22" fmla="*/ 310 w 533"/>
                <a:gd name="T23" fmla="*/ 1226 h 1886"/>
                <a:gd name="T24" fmla="*/ 456 w 533"/>
                <a:gd name="T25" fmla="*/ 1106 h 1886"/>
                <a:gd name="T26" fmla="*/ 310 w 533"/>
                <a:gd name="T27" fmla="*/ 1157 h 1886"/>
                <a:gd name="T28" fmla="*/ 310 w 533"/>
                <a:gd name="T29" fmla="*/ 866 h 1886"/>
                <a:gd name="T30" fmla="*/ 456 w 533"/>
                <a:gd name="T31" fmla="*/ 917 h 1886"/>
                <a:gd name="T32" fmla="*/ 310 w 533"/>
                <a:gd name="T33" fmla="*/ 866 h 1886"/>
                <a:gd name="T34" fmla="*/ 456 w 533"/>
                <a:gd name="T35" fmla="*/ 747 h 1886"/>
                <a:gd name="T36" fmla="*/ 310 w 533"/>
                <a:gd name="T37" fmla="*/ 797 h 1886"/>
                <a:gd name="T38" fmla="*/ 310 w 533"/>
                <a:gd name="T39" fmla="*/ 627 h 1886"/>
                <a:gd name="T40" fmla="*/ 456 w 533"/>
                <a:gd name="T41" fmla="*/ 677 h 1886"/>
                <a:gd name="T42" fmla="*/ 310 w 533"/>
                <a:gd name="T43" fmla="*/ 627 h 1886"/>
                <a:gd name="T44" fmla="*/ 456 w 533"/>
                <a:gd name="T45" fmla="*/ 507 h 1886"/>
                <a:gd name="T46" fmla="*/ 310 w 533"/>
                <a:gd name="T47" fmla="*/ 557 h 1886"/>
                <a:gd name="T48" fmla="*/ 310 w 533"/>
                <a:gd name="T49" fmla="*/ 267 h 1886"/>
                <a:gd name="T50" fmla="*/ 456 w 533"/>
                <a:gd name="T51" fmla="*/ 317 h 1886"/>
                <a:gd name="T52" fmla="*/ 310 w 533"/>
                <a:gd name="T53" fmla="*/ 267 h 1886"/>
                <a:gd name="T54" fmla="*/ 223 w 533"/>
                <a:gd name="T55" fmla="*/ 1586 h 1886"/>
                <a:gd name="T56" fmla="*/ 77 w 533"/>
                <a:gd name="T57" fmla="*/ 1637 h 1886"/>
                <a:gd name="T58" fmla="*/ 77 w 533"/>
                <a:gd name="T59" fmla="*/ 1466 h 1886"/>
                <a:gd name="T60" fmla="*/ 223 w 533"/>
                <a:gd name="T61" fmla="*/ 1517 h 1886"/>
                <a:gd name="T62" fmla="*/ 77 w 533"/>
                <a:gd name="T63" fmla="*/ 1466 h 1886"/>
                <a:gd name="T64" fmla="*/ 223 w 533"/>
                <a:gd name="T65" fmla="*/ 1226 h 1886"/>
                <a:gd name="T66" fmla="*/ 77 w 533"/>
                <a:gd name="T67" fmla="*/ 1277 h 1886"/>
                <a:gd name="T68" fmla="*/ 77 w 533"/>
                <a:gd name="T69" fmla="*/ 986 h 1886"/>
                <a:gd name="T70" fmla="*/ 223 w 533"/>
                <a:gd name="T71" fmla="*/ 1037 h 1886"/>
                <a:gd name="T72" fmla="*/ 77 w 533"/>
                <a:gd name="T73" fmla="*/ 986 h 1886"/>
                <a:gd name="T74" fmla="*/ 223 w 533"/>
                <a:gd name="T75" fmla="*/ 866 h 1886"/>
                <a:gd name="T76" fmla="*/ 77 w 533"/>
                <a:gd name="T77" fmla="*/ 917 h 1886"/>
                <a:gd name="T78" fmla="*/ 77 w 533"/>
                <a:gd name="T79" fmla="*/ 627 h 1886"/>
                <a:gd name="T80" fmla="*/ 223 w 533"/>
                <a:gd name="T81" fmla="*/ 677 h 1886"/>
                <a:gd name="T82" fmla="*/ 77 w 533"/>
                <a:gd name="T83" fmla="*/ 627 h 1886"/>
                <a:gd name="T84" fmla="*/ 223 w 533"/>
                <a:gd name="T85" fmla="*/ 387 h 1886"/>
                <a:gd name="T86" fmla="*/ 77 w 533"/>
                <a:gd name="T87" fmla="*/ 437 h 1886"/>
                <a:gd name="T88" fmla="*/ 77 w 533"/>
                <a:gd name="T89" fmla="*/ 267 h 1886"/>
                <a:gd name="T90" fmla="*/ 223 w 533"/>
                <a:gd name="T91" fmla="*/ 317 h 1886"/>
                <a:gd name="T92" fmla="*/ 77 w 533"/>
                <a:gd name="T93" fmla="*/ 267 h 1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33" h="1886">
                  <a:moveTo>
                    <a:pt x="0" y="92"/>
                  </a:moveTo>
                  <a:lnTo>
                    <a:pt x="0" y="1886"/>
                  </a:lnTo>
                  <a:lnTo>
                    <a:pt x="533" y="1886"/>
                  </a:lnTo>
                  <a:lnTo>
                    <a:pt x="533" y="92"/>
                  </a:lnTo>
                  <a:lnTo>
                    <a:pt x="487" y="92"/>
                  </a:lnTo>
                  <a:lnTo>
                    <a:pt x="487" y="0"/>
                  </a:lnTo>
                  <a:lnTo>
                    <a:pt x="202" y="0"/>
                  </a:lnTo>
                  <a:lnTo>
                    <a:pt x="202" y="92"/>
                  </a:lnTo>
                  <a:lnTo>
                    <a:pt x="0" y="92"/>
                  </a:lnTo>
                  <a:close/>
                  <a:moveTo>
                    <a:pt x="310" y="1466"/>
                  </a:moveTo>
                  <a:lnTo>
                    <a:pt x="456" y="1466"/>
                  </a:lnTo>
                  <a:lnTo>
                    <a:pt x="456" y="1517"/>
                  </a:lnTo>
                  <a:lnTo>
                    <a:pt x="310" y="1517"/>
                  </a:lnTo>
                  <a:lnTo>
                    <a:pt x="310" y="1466"/>
                  </a:lnTo>
                  <a:close/>
                  <a:moveTo>
                    <a:pt x="310" y="1346"/>
                  </a:moveTo>
                  <a:lnTo>
                    <a:pt x="456" y="1346"/>
                  </a:lnTo>
                  <a:lnTo>
                    <a:pt x="456" y="1397"/>
                  </a:lnTo>
                  <a:lnTo>
                    <a:pt x="310" y="1397"/>
                  </a:lnTo>
                  <a:lnTo>
                    <a:pt x="310" y="1346"/>
                  </a:lnTo>
                  <a:close/>
                  <a:moveTo>
                    <a:pt x="310" y="1226"/>
                  </a:moveTo>
                  <a:lnTo>
                    <a:pt x="456" y="1226"/>
                  </a:lnTo>
                  <a:lnTo>
                    <a:pt x="456" y="1277"/>
                  </a:lnTo>
                  <a:lnTo>
                    <a:pt x="310" y="1277"/>
                  </a:lnTo>
                  <a:lnTo>
                    <a:pt x="310" y="1226"/>
                  </a:lnTo>
                  <a:close/>
                  <a:moveTo>
                    <a:pt x="310" y="1106"/>
                  </a:moveTo>
                  <a:lnTo>
                    <a:pt x="456" y="1106"/>
                  </a:lnTo>
                  <a:lnTo>
                    <a:pt x="456" y="1157"/>
                  </a:lnTo>
                  <a:lnTo>
                    <a:pt x="310" y="1157"/>
                  </a:lnTo>
                  <a:lnTo>
                    <a:pt x="310" y="1106"/>
                  </a:lnTo>
                  <a:close/>
                  <a:moveTo>
                    <a:pt x="310" y="866"/>
                  </a:moveTo>
                  <a:lnTo>
                    <a:pt x="456" y="866"/>
                  </a:lnTo>
                  <a:lnTo>
                    <a:pt x="456" y="917"/>
                  </a:lnTo>
                  <a:lnTo>
                    <a:pt x="310" y="917"/>
                  </a:lnTo>
                  <a:lnTo>
                    <a:pt x="310" y="866"/>
                  </a:lnTo>
                  <a:close/>
                  <a:moveTo>
                    <a:pt x="310" y="747"/>
                  </a:moveTo>
                  <a:lnTo>
                    <a:pt x="456" y="747"/>
                  </a:lnTo>
                  <a:lnTo>
                    <a:pt x="456" y="797"/>
                  </a:lnTo>
                  <a:lnTo>
                    <a:pt x="310" y="797"/>
                  </a:lnTo>
                  <a:lnTo>
                    <a:pt x="310" y="747"/>
                  </a:lnTo>
                  <a:close/>
                  <a:moveTo>
                    <a:pt x="310" y="627"/>
                  </a:moveTo>
                  <a:lnTo>
                    <a:pt x="456" y="627"/>
                  </a:lnTo>
                  <a:lnTo>
                    <a:pt x="456" y="677"/>
                  </a:lnTo>
                  <a:lnTo>
                    <a:pt x="310" y="677"/>
                  </a:lnTo>
                  <a:lnTo>
                    <a:pt x="310" y="627"/>
                  </a:lnTo>
                  <a:close/>
                  <a:moveTo>
                    <a:pt x="310" y="507"/>
                  </a:moveTo>
                  <a:lnTo>
                    <a:pt x="456" y="507"/>
                  </a:lnTo>
                  <a:lnTo>
                    <a:pt x="456" y="557"/>
                  </a:lnTo>
                  <a:lnTo>
                    <a:pt x="310" y="557"/>
                  </a:lnTo>
                  <a:lnTo>
                    <a:pt x="310" y="507"/>
                  </a:lnTo>
                  <a:close/>
                  <a:moveTo>
                    <a:pt x="310" y="267"/>
                  </a:moveTo>
                  <a:lnTo>
                    <a:pt x="456" y="267"/>
                  </a:lnTo>
                  <a:lnTo>
                    <a:pt x="456" y="317"/>
                  </a:lnTo>
                  <a:lnTo>
                    <a:pt x="310" y="317"/>
                  </a:lnTo>
                  <a:lnTo>
                    <a:pt x="310" y="267"/>
                  </a:lnTo>
                  <a:close/>
                  <a:moveTo>
                    <a:pt x="77" y="1586"/>
                  </a:moveTo>
                  <a:lnTo>
                    <a:pt x="223" y="1586"/>
                  </a:lnTo>
                  <a:lnTo>
                    <a:pt x="223" y="1637"/>
                  </a:lnTo>
                  <a:lnTo>
                    <a:pt x="77" y="1637"/>
                  </a:lnTo>
                  <a:lnTo>
                    <a:pt x="77" y="1586"/>
                  </a:lnTo>
                  <a:close/>
                  <a:moveTo>
                    <a:pt x="77" y="1466"/>
                  </a:moveTo>
                  <a:lnTo>
                    <a:pt x="223" y="1466"/>
                  </a:lnTo>
                  <a:lnTo>
                    <a:pt x="223" y="1517"/>
                  </a:lnTo>
                  <a:lnTo>
                    <a:pt x="77" y="1517"/>
                  </a:lnTo>
                  <a:lnTo>
                    <a:pt x="77" y="1466"/>
                  </a:lnTo>
                  <a:close/>
                  <a:moveTo>
                    <a:pt x="77" y="1226"/>
                  </a:moveTo>
                  <a:lnTo>
                    <a:pt x="223" y="1226"/>
                  </a:lnTo>
                  <a:lnTo>
                    <a:pt x="223" y="1277"/>
                  </a:lnTo>
                  <a:lnTo>
                    <a:pt x="77" y="1277"/>
                  </a:lnTo>
                  <a:lnTo>
                    <a:pt x="77" y="1226"/>
                  </a:lnTo>
                  <a:close/>
                  <a:moveTo>
                    <a:pt x="77" y="986"/>
                  </a:moveTo>
                  <a:lnTo>
                    <a:pt x="223" y="986"/>
                  </a:lnTo>
                  <a:lnTo>
                    <a:pt x="223" y="1037"/>
                  </a:lnTo>
                  <a:lnTo>
                    <a:pt x="77" y="1037"/>
                  </a:lnTo>
                  <a:lnTo>
                    <a:pt x="77" y="986"/>
                  </a:lnTo>
                  <a:close/>
                  <a:moveTo>
                    <a:pt x="77" y="866"/>
                  </a:moveTo>
                  <a:lnTo>
                    <a:pt x="223" y="866"/>
                  </a:lnTo>
                  <a:lnTo>
                    <a:pt x="223" y="917"/>
                  </a:lnTo>
                  <a:lnTo>
                    <a:pt x="77" y="917"/>
                  </a:lnTo>
                  <a:lnTo>
                    <a:pt x="77" y="866"/>
                  </a:lnTo>
                  <a:close/>
                  <a:moveTo>
                    <a:pt x="77" y="627"/>
                  </a:moveTo>
                  <a:lnTo>
                    <a:pt x="223" y="627"/>
                  </a:lnTo>
                  <a:lnTo>
                    <a:pt x="223" y="677"/>
                  </a:lnTo>
                  <a:lnTo>
                    <a:pt x="77" y="677"/>
                  </a:lnTo>
                  <a:lnTo>
                    <a:pt x="77" y="627"/>
                  </a:lnTo>
                  <a:close/>
                  <a:moveTo>
                    <a:pt x="77" y="387"/>
                  </a:moveTo>
                  <a:lnTo>
                    <a:pt x="223" y="387"/>
                  </a:lnTo>
                  <a:lnTo>
                    <a:pt x="223" y="437"/>
                  </a:lnTo>
                  <a:lnTo>
                    <a:pt x="77" y="437"/>
                  </a:lnTo>
                  <a:lnTo>
                    <a:pt x="77" y="387"/>
                  </a:lnTo>
                  <a:close/>
                  <a:moveTo>
                    <a:pt x="77" y="267"/>
                  </a:moveTo>
                  <a:lnTo>
                    <a:pt x="223" y="267"/>
                  </a:lnTo>
                  <a:lnTo>
                    <a:pt x="223" y="317"/>
                  </a:lnTo>
                  <a:lnTo>
                    <a:pt x="77" y="317"/>
                  </a:lnTo>
                  <a:lnTo>
                    <a:pt x="77" y="26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endParaRPr lang="ru-RU"/>
            </a:p>
          </p:txBody>
        </p:sp>
        <p:sp>
          <p:nvSpPr>
            <p:cNvPr id="61" name="íS1ïďe">
              <a:extLst>
                <a:ext uri="{FF2B5EF4-FFF2-40B4-BE49-F238E27FC236}">
                  <a16:creationId xmlns="" xmlns:a16="http://schemas.microsoft.com/office/drawing/2014/main" id="{F9ECF5B2-A10D-4961-AAA2-4270EBBF1233}"/>
                </a:ext>
              </a:extLst>
            </p:cNvPr>
            <p:cNvSpPr/>
            <p:nvPr/>
          </p:nvSpPr>
          <p:spPr bwMode="auto">
            <a:xfrm>
              <a:off x="3973513" y="3460750"/>
              <a:ext cx="846138" cy="2662238"/>
            </a:xfrm>
            <a:custGeom>
              <a:avLst/>
              <a:gdLst>
                <a:gd name="T0" fmla="*/ 0 w 533"/>
                <a:gd name="T1" fmla="*/ 1677 h 1677"/>
                <a:gd name="T2" fmla="*/ 533 w 533"/>
                <a:gd name="T3" fmla="*/ 204 h 1677"/>
                <a:gd name="T4" fmla="*/ 437 w 533"/>
                <a:gd name="T5" fmla="*/ 0 h 1677"/>
                <a:gd name="T6" fmla="*/ 329 w 533"/>
                <a:gd name="T7" fmla="*/ 204 h 1677"/>
                <a:gd name="T8" fmla="*/ 401 w 533"/>
                <a:gd name="T9" fmla="*/ 1252 h 1677"/>
                <a:gd name="T10" fmla="*/ 473 w 533"/>
                <a:gd name="T11" fmla="*/ 1324 h 1677"/>
                <a:gd name="T12" fmla="*/ 401 w 533"/>
                <a:gd name="T13" fmla="*/ 1252 h 1677"/>
                <a:gd name="T14" fmla="*/ 473 w 533"/>
                <a:gd name="T15" fmla="*/ 1104 h 1677"/>
                <a:gd name="T16" fmla="*/ 401 w 533"/>
                <a:gd name="T17" fmla="*/ 1176 h 1677"/>
                <a:gd name="T18" fmla="*/ 401 w 533"/>
                <a:gd name="T19" fmla="*/ 957 h 1677"/>
                <a:gd name="T20" fmla="*/ 473 w 533"/>
                <a:gd name="T21" fmla="*/ 1029 h 1677"/>
                <a:gd name="T22" fmla="*/ 401 w 533"/>
                <a:gd name="T23" fmla="*/ 957 h 1677"/>
                <a:gd name="T24" fmla="*/ 473 w 533"/>
                <a:gd name="T25" fmla="*/ 811 h 1677"/>
                <a:gd name="T26" fmla="*/ 401 w 533"/>
                <a:gd name="T27" fmla="*/ 883 h 1677"/>
                <a:gd name="T28" fmla="*/ 401 w 533"/>
                <a:gd name="T29" fmla="*/ 662 h 1677"/>
                <a:gd name="T30" fmla="*/ 473 w 533"/>
                <a:gd name="T31" fmla="*/ 734 h 1677"/>
                <a:gd name="T32" fmla="*/ 401 w 533"/>
                <a:gd name="T33" fmla="*/ 662 h 1677"/>
                <a:gd name="T34" fmla="*/ 473 w 533"/>
                <a:gd name="T35" fmla="*/ 516 h 1677"/>
                <a:gd name="T36" fmla="*/ 401 w 533"/>
                <a:gd name="T37" fmla="*/ 588 h 1677"/>
                <a:gd name="T38" fmla="*/ 288 w 533"/>
                <a:gd name="T39" fmla="*/ 1104 h 1677"/>
                <a:gd name="T40" fmla="*/ 360 w 533"/>
                <a:gd name="T41" fmla="*/ 1176 h 1677"/>
                <a:gd name="T42" fmla="*/ 288 w 533"/>
                <a:gd name="T43" fmla="*/ 1104 h 1677"/>
                <a:gd name="T44" fmla="*/ 360 w 533"/>
                <a:gd name="T45" fmla="*/ 957 h 1677"/>
                <a:gd name="T46" fmla="*/ 288 w 533"/>
                <a:gd name="T47" fmla="*/ 1029 h 1677"/>
                <a:gd name="T48" fmla="*/ 288 w 533"/>
                <a:gd name="T49" fmla="*/ 662 h 1677"/>
                <a:gd name="T50" fmla="*/ 360 w 533"/>
                <a:gd name="T51" fmla="*/ 734 h 1677"/>
                <a:gd name="T52" fmla="*/ 288 w 533"/>
                <a:gd name="T53" fmla="*/ 662 h 1677"/>
                <a:gd name="T54" fmla="*/ 360 w 533"/>
                <a:gd name="T55" fmla="*/ 516 h 1677"/>
                <a:gd name="T56" fmla="*/ 288 w 533"/>
                <a:gd name="T57" fmla="*/ 588 h 1677"/>
                <a:gd name="T58" fmla="*/ 288 w 533"/>
                <a:gd name="T59" fmla="*/ 370 h 1677"/>
                <a:gd name="T60" fmla="*/ 360 w 533"/>
                <a:gd name="T61" fmla="*/ 442 h 1677"/>
                <a:gd name="T62" fmla="*/ 288 w 533"/>
                <a:gd name="T63" fmla="*/ 370 h 1677"/>
                <a:gd name="T64" fmla="*/ 245 w 533"/>
                <a:gd name="T65" fmla="*/ 1252 h 1677"/>
                <a:gd name="T66" fmla="*/ 173 w 533"/>
                <a:gd name="T67" fmla="*/ 1324 h 1677"/>
                <a:gd name="T68" fmla="*/ 173 w 533"/>
                <a:gd name="T69" fmla="*/ 1104 h 1677"/>
                <a:gd name="T70" fmla="*/ 245 w 533"/>
                <a:gd name="T71" fmla="*/ 1176 h 1677"/>
                <a:gd name="T72" fmla="*/ 173 w 533"/>
                <a:gd name="T73" fmla="*/ 1104 h 1677"/>
                <a:gd name="T74" fmla="*/ 245 w 533"/>
                <a:gd name="T75" fmla="*/ 811 h 1677"/>
                <a:gd name="T76" fmla="*/ 173 w 533"/>
                <a:gd name="T77" fmla="*/ 883 h 1677"/>
                <a:gd name="T78" fmla="*/ 173 w 533"/>
                <a:gd name="T79" fmla="*/ 662 h 1677"/>
                <a:gd name="T80" fmla="*/ 245 w 533"/>
                <a:gd name="T81" fmla="*/ 734 h 1677"/>
                <a:gd name="T82" fmla="*/ 173 w 533"/>
                <a:gd name="T83" fmla="*/ 662 h 1677"/>
                <a:gd name="T84" fmla="*/ 245 w 533"/>
                <a:gd name="T85" fmla="*/ 516 h 1677"/>
                <a:gd name="T86" fmla="*/ 173 w 533"/>
                <a:gd name="T87" fmla="*/ 588 h 1677"/>
                <a:gd name="T88" fmla="*/ 173 w 533"/>
                <a:gd name="T89" fmla="*/ 370 h 1677"/>
                <a:gd name="T90" fmla="*/ 245 w 533"/>
                <a:gd name="T91" fmla="*/ 442 h 1677"/>
                <a:gd name="T92" fmla="*/ 173 w 533"/>
                <a:gd name="T93" fmla="*/ 370 h 1677"/>
                <a:gd name="T94" fmla="*/ 132 w 533"/>
                <a:gd name="T95" fmla="*/ 1252 h 1677"/>
                <a:gd name="T96" fmla="*/ 60 w 533"/>
                <a:gd name="T97" fmla="*/ 1324 h 1677"/>
                <a:gd name="T98" fmla="*/ 60 w 533"/>
                <a:gd name="T99" fmla="*/ 1104 h 1677"/>
                <a:gd name="T100" fmla="*/ 132 w 533"/>
                <a:gd name="T101" fmla="*/ 1176 h 1677"/>
                <a:gd name="T102" fmla="*/ 60 w 533"/>
                <a:gd name="T103" fmla="*/ 1104 h 1677"/>
                <a:gd name="T104" fmla="*/ 132 w 533"/>
                <a:gd name="T105" fmla="*/ 957 h 1677"/>
                <a:gd name="T106" fmla="*/ 60 w 533"/>
                <a:gd name="T107" fmla="*/ 1029 h 1677"/>
                <a:gd name="T108" fmla="*/ 60 w 533"/>
                <a:gd name="T109" fmla="*/ 811 h 1677"/>
                <a:gd name="T110" fmla="*/ 132 w 533"/>
                <a:gd name="T111" fmla="*/ 883 h 1677"/>
                <a:gd name="T112" fmla="*/ 60 w 533"/>
                <a:gd name="T113" fmla="*/ 811 h 1677"/>
                <a:gd name="T114" fmla="*/ 132 w 533"/>
                <a:gd name="T115" fmla="*/ 516 h 1677"/>
                <a:gd name="T116" fmla="*/ 60 w 533"/>
                <a:gd name="T117" fmla="*/ 588 h 16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533" h="1677">
                  <a:moveTo>
                    <a:pt x="0" y="204"/>
                  </a:moveTo>
                  <a:lnTo>
                    <a:pt x="0" y="1677"/>
                  </a:lnTo>
                  <a:lnTo>
                    <a:pt x="533" y="1677"/>
                  </a:lnTo>
                  <a:lnTo>
                    <a:pt x="533" y="204"/>
                  </a:lnTo>
                  <a:lnTo>
                    <a:pt x="437" y="204"/>
                  </a:lnTo>
                  <a:lnTo>
                    <a:pt x="437" y="0"/>
                  </a:lnTo>
                  <a:lnTo>
                    <a:pt x="329" y="0"/>
                  </a:lnTo>
                  <a:lnTo>
                    <a:pt x="329" y="204"/>
                  </a:lnTo>
                  <a:lnTo>
                    <a:pt x="0" y="204"/>
                  </a:lnTo>
                  <a:close/>
                  <a:moveTo>
                    <a:pt x="401" y="1252"/>
                  </a:moveTo>
                  <a:lnTo>
                    <a:pt x="473" y="1252"/>
                  </a:lnTo>
                  <a:lnTo>
                    <a:pt x="473" y="1324"/>
                  </a:lnTo>
                  <a:lnTo>
                    <a:pt x="401" y="1324"/>
                  </a:lnTo>
                  <a:lnTo>
                    <a:pt x="401" y="1252"/>
                  </a:lnTo>
                  <a:close/>
                  <a:moveTo>
                    <a:pt x="401" y="1104"/>
                  </a:moveTo>
                  <a:lnTo>
                    <a:pt x="473" y="1104"/>
                  </a:lnTo>
                  <a:lnTo>
                    <a:pt x="473" y="1176"/>
                  </a:lnTo>
                  <a:lnTo>
                    <a:pt x="401" y="1176"/>
                  </a:lnTo>
                  <a:lnTo>
                    <a:pt x="401" y="1104"/>
                  </a:lnTo>
                  <a:close/>
                  <a:moveTo>
                    <a:pt x="401" y="957"/>
                  </a:moveTo>
                  <a:lnTo>
                    <a:pt x="473" y="957"/>
                  </a:lnTo>
                  <a:lnTo>
                    <a:pt x="473" y="1029"/>
                  </a:lnTo>
                  <a:lnTo>
                    <a:pt x="401" y="1029"/>
                  </a:lnTo>
                  <a:lnTo>
                    <a:pt x="401" y="957"/>
                  </a:lnTo>
                  <a:close/>
                  <a:moveTo>
                    <a:pt x="401" y="811"/>
                  </a:moveTo>
                  <a:lnTo>
                    <a:pt x="473" y="811"/>
                  </a:lnTo>
                  <a:lnTo>
                    <a:pt x="473" y="883"/>
                  </a:lnTo>
                  <a:lnTo>
                    <a:pt x="401" y="883"/>
                  </a:lnTo>
                  <a:lnTo>
                    <a:pt x="401" y="811"/>
                  </a:lnTo>
                  <a:close/>
                  <a:moveTo>
                    <a:pt x="401" y="662"/>
                  </a:moveTo>
                  <a:lnTo>
                    <a:pt x="473" y="662"/>
                  </a:lnTo>
                  <a:lnTo>
                    <a:pt x="473" y="734"/>
                  </a:lnTo>
                  <a:lnTo>
                    <a:pt x="401" y="734"/>
                  </a:lnTo>
                  <a:lnTo>
                    <a:pt x="401" y="662"/>
                  </a:lnTo>
                  <a:close/>
                  <a:moveTo>
                    <a:pt x="401" y="516"/>
                  </a:moveTo>
                  <a:lnTo>
                    <a:pt x="473" y="516"/>
                  </a:lnTo>
                  <a:lnTo>
                    <a:pt x="473" y="588"/>
                  </a:lnTo>
                  <a:lnTo>
                    <a:pt x="401" y="588"/>
                  </a:lnTo>
                  <a:lnTo>
                    <a:pt x="401" y="516"/>
                  </a:lnTo>
                  <a:close/>
                  <a:moveTo>
                    <a:pt x="288" y="1104"/>
                  </a:moveTo>
                  <a:lnTo>
                    <a:pt x="360" y="1104"/>
                  </a:lnTo>
                  <a:lnTo>
                    <a:pt x="360" y="1176"/>
                  </a:lnTo>
                  <a:lnTo>
                    <a:pt x="288" y="1176"/>
                  </a:lnTo>
                  <a:lnTo>
                    <a:pt x="288" y="1104"/>
                  </a:lnTo>
                  <a:close/>
                  <a:moveTo>
                    <a:pt x="288" y="957"/>
                  </a:moveTo>
                  <a:lnTo>
                    <a:pt x="360" y="957"/>
                  </a:lnTo>
                  <a:lnTo>
                    <a:pt x="360" y="1029"/>
                  </a:lnTo>
                  <a:lnTo>
                    <a:pt x="288" y="1029"/>
                  </a:lnTo>
                  <a:lnTo>
                    <a:pt x="288" y="957"/>
                  </a:lnTo>
                  <a:close/>
                  <a:moveTo>
                    <a:pt x="288" y="662"/>
                  </a:moveTo>
                  <a:lnTo>
                    <a:pt x="360" y="662"/>
                  </a:lnTo>
                  <a:lnTo>
                    <a:pt x="360" y="734"/>
                  </a:lnTo>
                  <a:lnTo>
                    <a:pt x="288" y="734"/>
                  </a:lnTo>
                  <a:lnTo>
                    <a:pt x="288" y="662"/>
                  </a:lnTo>
                  <a:close/>
                  <a:moveTo>
                    <a:pt x="288" y="516"/>
                  </a:moveTo>
                  <a:lnTo>
                    <a:pt x="360" y="516"/>
                  </a:lnTo>
                  <a:lnTo>
                    <a:pt x="360" y="588"/>
                  </a:lnTo>
                  <a:lnTo>
                    <a:pt x="288" y="588"/>
                  </a:lnTo>
                  <a:lnTo>
                    <a:pt x="288" y="516"/>
                  </a:lnTo>
                  <a:close/>
                  <a:moveTo>
                    <a:pt x="288" y="370"/>
                  </a:moveTo>
                  <a:lnTo>
                    <a:pt x="360" y="370"/>
                  </a:lnTo>
                  <a:lnTo>
                    <a:pt x="360" y="442"/>
                  </a:lnTo>
                  <a:lnTo>
                    <a:pt x="288" y="442"/>
                  </a:lnTo>
                  <a:lnTo>
                    <a:pt x="288" y="370"/>
                  </a:lnTo>
                  <a:close/>
                  <a:moveTo>
                    <a:pt x="173" y="1252"/>
                  </a:moveTo>
                  <a:lnTo>
                    <a:pt x="245" y="1252"/>
                  </a:lnTo>
                  <a:lnTo>
                    <a:pt x="245" y="1324"/>
                  </a:lnTo>
                  <a:lnTo>
                    <a:pt x="173" y="1324"/>
                  </a:lnTo>
                  <a:lnTo>
                    <a:pt x="173" y="1252"/>
                  </a:lnTo>
                  <a:close/>
                  <a:moveTo>
                    <a:pt x="173" y="1104"/>
                  </a:moveTo>
                  <a:lnTo>
                    <a:pt x="245" y="1104"/>
                  </a:lnTo>
                  <a:lnTo>
                    <a:pt x="245" y="1176"/>
                  </a:lnTo>
                  <a:lnTo>
                    <a:pt x="173" y="1176"/>
                  </a:lnTo>
                  <a:lnTo>
                    <a:pt x="173" y="1104"/>
                  </a:lnTo>
                  <a:close/>
                  <a:moveTo>
                    <a:pt x="173" y="811"/>
                  </a:moveTo>
                  <a:lnTo>
                    <a:pt x="245" y="811"/>
                  </a:lnTo>
                  <a:lnTo>
                    <a:pt x="245" y="883"/>
                  </a:lnTo>
                  <a:lnTo>
                    <a:pt x="173" y="883"/>
                  </a:lnTo>
                  <a:lnTo>
                    <a:pt x="173" y="811"/>
                  </a:lnTo>
                  <a:close/>
                  <a:moveTo>
                    <a:pt x="173" y="662"/>
                  </a:moveTo>
                  <a:lnTo>
                    <a:pt x="245" y="662"/>
                  </a:lnTo>
                  <a:lnTo>
                    <a:pt x="245" y="734"/>
                  </a:lnTo>
                  <a:lnTo>
                    <a:pt x="173" y="734"/>
                  </a:lnTo>
                  <a:lnTo>
                    <a:pt x="173" y="662"/>
                  </a:lnTo>
                  <a:close/>
                  <a:moveTo>
                    <a:pt x="173" y="516"/>
                  </a:moveTo>
                  <a:lnTo>
                    <a:pt x="245" y="516"/>
                  </a:lnTo>
                  <a:lnTo>
                    <a:pt x="245" y="588"/>
                  </a:lnTo>
                  <a:lnTo>
                    <a:pt x="173" y="588"/>
                  </a:lnTo>
                  <a:lnTo>
                    <a:pt x="173" y="516"/>
                  </a:lnTo>
                  <a:close/>
                  <a:moveTo>
                    <a:pt x="173" y="370"/>
                  </a:moveTo>
                  <a:lnTo>
                    <a:pt x="245" y="370"/>
                  </a:lnTo>
                  <a:lnTo>
                    <a:pt x="245" y="442"/>
                  </a:lnTo>
                  <a:lnTo>
                    <a:pt x="173" y="442"/>
                  </a:lnTo>
                  <a:lnTo>
                    <a:pt x="173" y="370"/>
                  </a:lnTo>
                  <a:close/>
                  <a:moveTo>
                    <a:pt x="60" y="1252"/>
                  </a:moveTo>
                  <a:lnTo>
                    <a:pt x="132" y="1252"/>
                  </a:lnTo>
                  <a:lnTo>
                    <a:pt x="132" y="1324"/>
                  </a:lnTo>
                  <a:lnTo>
                    <a:pt x="60" y="1324"/>
                  </a:lnTo>
                  <a:lnTo>
                    <a:pt x="60" y="1252"/>
                  </a:lnTo>
                  <a:close/>
                  <a:moveTo>
                    <a:pt x="60" y="1104"/>
                  </a:moveTo>
                  <a:lnTo>
                    <a:pt x="132" y="1104"/>
                  </a:lnTo>
                  <a:lnTo>
                    <a:pt x="132" y="1176"/>
                  </a:lnTo>
                  <a:lnTo>
                    <a:pt x="60" y="1176"/>
                  </a:lnTo>
                  <a:lnTo>
                    <a:pt x="60" y="1104"/>
                  </a:lnTo>
                  <a:close/>
                  <a:moveTo>
                    <a:pt x="60" y="957"/>
                  </a:moveTo>
                  <a:lnTo>
                    <a:pt x="132" y="957"/>
                  </a:lnTo>
                  <a:lnTo>
                    <a:pt x="132" y="1029"/>
                  </a:lnTo>
                  <a:lnTo>
                    <a:pt x="60" y="1029"/>
                  </a:lnTo>
                  <a:lnTo>
                    <a:pt x="60" y="957"/>
                  </a:lnTo>
                  <a:close/>
                  <a:moveTo>
                    <a:pt x="60" y="811"/>
                  </a:moveTo>
                  <a:lnTo>
                    <a:pt x="132" y="811"/>
                  </a:lnTo>
                  <a:lnTo>
                    <a:pt x="132" y="883"/>
                  </a:lnTo>
                  <a:lnTo>
                    <a:pt x="60" y="883"/>
                  </a:lnTo>
                  <a:lnTo>
                    <a:pt x="60" y="811"/>
                  </a:lnTo>
                  <a:close/>
                  <a:moveTo>
                    <a:pt x="60" y="516"/>
                  </a:moveTo>
                  <a:lnTo>
                    <a:pt x="132" y="516"/>
                  </a:lnTo>
                  <a:lnTo>
                    <a:pt x="132" y="588"/>
                  </a:lnTo>
                  <a:lnTo>
                    <a:pt x="60" y="588"/>
                  </a:lnTo>
                  <a:lnTo>
                    <a:pt x="60" y="5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endParaRPr lang="ru-RU"/>
            </a:p>
          </p:txBody>
        </p:sp>
        <p:sp>
          <p:nvSpPr>
            <p:cNvPr id="62" name="í$ḷiďe">
              <a:extLst>
                <a:ext uri="{FF2B5EF4-FFF2-40B4-BE49-F238E27FC236}">
                  <a16:creationId xmlns="" xmlns:a16="http://schemas.microsoft.com/office/drawing/2014/main" id="{6F45AAA7-2AAC-419E-AE51-24E6A20854EA}"/>
                </a:ext>
              </a:extLst>
            </p:cNvPr>
            <p:cNvSpPr/>
            <p:nvPr/>
          </p:nvSpPr>
          <p:spPr bwMode="auto">
            <a:xfrm>
              <a:off x="5907088" y="4092575"/>
              <a:ext cx="846138" cy="2030413"/>
            </a:xfrm>
            <a:custGeom>
              <a:avLst/>
              <a:gdLst>
                <a:gd name="T0" fmla="*/ 0 w 533"/>
                <a:gd name="T1" fmla="*/ 224 h 1279"/>
                <a:gd name="T2" fmla="*/ 0 w 533"/>
                <a:gd name="T3" fmla="*/ 1279 h 1279"/>
                <a:gd name="T4" fmla="*/ 533 w 533"/>
                <a:gd name="T5" fmla="*/ 1279 h 1279"/>
                <a:gd name="T6" fmla="*/ 533 w 533"/>
                <a:gd name="T7" fmla="*/ 224 h 1279"/>
                <a:gd name="T8" fmla="*/ 451 w 533"/>
                <a:gd name="T9" fmla="*/ 224 h 1279"/>
                <a:gd name="T10" fmla="*/ 451 w 533"/>
                <a:gd name="T11" fmla="*/ 116 h 1279"/>
                <a:gd name="T12" fmla="*/ 82 w 533"/>
                <a:gd name="T13" fmla="*/ 0 h 1279"/>
                <a:gd name="T14" fmla="*/ 82 w 533"/>
                <a:gd name="T15" fmla="*/ 224 h 1279"/>
                <a:gd name="T16" fmla="*/ 0 w 533"/>
                <a:gd name="T17" fmla="*/ 224 h 1279"/>
                <a:gd name="T18" fmla="*/ 324 w 533"/>
                <a:gd name="T19" fmla="*/ 792 h 1279"/>
                <a:gd name="T20" fmla="*/ 432 w 533"/>
                <a:gd name="T21" fmla="*/ 792 h 1279"/>
                <a:gd name="T22" fmla="*/ 432 w 533"/>
                <a:gd name="T23" fmla="*/ 900 h 1279"/>
                <a:gd name="T24" fmla="*/ 324 w 533"/>
                <a:gd name="T25" fmla="*/ 900 h 1279"/>
                <a:gd name="T26" fmla="*/ 324 w 533"/>
                <a:gd name="T27" fmla="*/ 792 h 1279"/>
                <a:gd name="T28" fmla="*/ 324 w 533"/>
                <a:gd name="T29" fmla="*/ 574 h 1279"/>
                <a:gd name="T30" fmla="*/ 432 w 533"/>
                <a:gd name="T31" fmla="*/ 574 h 1279"/>
                <a:gd name="T32" fmla="*/ 432 w 533"/>
                <a:gd name="T33" fmla="*/ 682 h 1279"/>
                <a:gd name="T34" fmla="*/ 324 w 533"/>
                <a:gd name="T35" fmla="*/ 682 h 1279"/>
                <a:gd name="T36" fmla="*/ 324 w 533"/>
                <a:gd name="T37" fmla="*/ 574 h 1279"/>
                <a:gd name="T38" fmla="*/ 324 w 533"/>
                <a:gd name="T39" fmla="*/ 355 h 1279"/>
                <a:gd name="T40" fmla="*/ 432 w 533"/>
                <a:gd name="T41" fmla="*/ 355 h 1279"/>
                <a:gd name="T42" fmla="*/ 432 w 533"/>
                <a:gd name="T43" fmla="*/ 463 h 1279"/>
                <a:gd name="T44" fmla="*/ 324 w 533"/>
                <a:gd name="T45" fmla="*/ 463 h 1279"/>
                <a:gd name="T46" fmla="*/ 324 w 533"/>
                <a:gd name="T47" fmla="*/ 355 h 1279"/>
                <a:gd name="T48" fmla="*/ 101 w 533"/>
                <a:gd name="T49" fmla="*/ 792 h 1279"/>
                <a:gd name="T50" fmla="*/ 209 w 533"/>
                <a:gd name="T51" fmla="*/ 792 h 1279"/>
                <a:gd name="T52" fmla="*/ 209 w 533"/>
                <a:gd name="T53" fmla="*/ 900 h 1279"/>
                <a:gd name="T54" fmla="*/ 101 w 533"/>
                <a:gd name="T55" fmla="*/ 900 h 1279"/>
                <a:gd name="T56" fmla="*/ 101 w 533"/>
                <a:gd name="T57" fmla="*/ 792 h 1279"/>
                <a:gd name="T58" fmla="*/ 101 w 533"/>
                <a:gd name="T59" fmla="*/ 574 h 1279"/>
                <a:gd name="T60" fmla="*/ 209 w 533"/>
                <a:gd name="T61" fmla="*/ 574 h 1279"/>
                <a:gd name="T62" fmla="*/ 209 w 533"/>
                <a:gd name="T63" fmla="*/ 682 h 1279"/>
                <a:gd name="T64" fmla="*/ 101 w 533"/>
                <a:gd name="T65" fmla="*/ 682 h 1279"/>
                <a:gd name="T66" fmla="*/ 101 w 533"/>
                <a:gd name="T67" fmla="*/ 574 h 1279"/>
                <a:gd name="T68" fmla="*/ 101 w 533"/>
                <a:gd name="T69" fmla="*/ 355 h 1279"/>
                <a:gd name="T70" fmla="*/ 209 w 533"/>
                <a:gd name="T71" fmla="*/ 355 h 1279"/>
                <a:gd name="T72" fmla="*/ 209 w 533"/>
                <a:gd name="T73" fmla="*/ 463 h 1279"/>
                <a:gd name="T74" fmla="*/ 101 w 533"/>
                <a:gd name="T75" fmla="*/ 463 h 1279"/>
                <a:gd name="T76" fmla="*/ 101 w 533"/>
                <a:gd name="T77" fmla="*/ 355 h 1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533" h="1279">
                  <a:moveTo>
                    <a:pt x="0" y="224"/>
                  </a:moveTo>
                  <a:lnTo>
                    <a:pt x="0" y="1279"/>
                  </a:lnTo>
                  <a:lnTo>
                    <a:pt x="533" y="1279"/>
                  </a:lnTo>
                  <a:lnTo>
                    <a:pt x="533" y="224"/>
                  </a:lnTo>
                  <a:lnTo>
                    <a:pt x="451" y="224"/>
                  </a:lnTo>
                  <a:lnTo>
                    <a:pt x="451" y="116"/>
                  </a:lnTo>
                  <a:lnTo>
                    <a:pt x="82" y="0"/>
                  </a:lnTo>
                  <a:lnTo>
                    <a:pt x="82" y="224"/>
                  </a:lnTo>
                  <a:lnTo>
                    <a:pt x="0" y="224"/>
                  </a:lnTo>
                  <a:close/>
                  <a:moveTo>
                    <a:pt x="324" y="792"/>
                  </a:moveTo>
                  <a:lnTo>
                    <a:pt x="432" y="792"/>
                  </a:lnTo>
                  <a:lnTo>
                    <a:pt x="432" y="900"/>
                  </a:lnTo>
                  <a:lnTo>
                    <a:pt x="324" y="900"/>
                  </a:lnTo>
                  <a:lnTo>
                    <a:pt x="324" y="792"/>
                  </a:lnTo>
                  <a:close/>
                  <a:moveTo>
                    <a:pt x="324" y="574"/>
                  </a:moveTo>
                  <a:lnTo>
                    <a:pt x="432" y="574"/>
                  </a:lnTo>
                  <a:lnTo>
                    <a:pt x="432" y="682"/>
                  </a:lnTo>
                  <a:lnTo>
                    <a:pt x="324" y="682"/>
                  </a:lnTo>
                  <a:lnTo>
                    <a:pt x="324" y="574"/>
                  </a:lnTo>
                  <a:close/>
                  <a:moveTo>
                    <a:pt x="324" y="355"/>
                  </a:moveTo>
                  <a:lnTo>
                    <a:pt x="432" y="355"/>
                  </a:lnTo>
                  <a:lnTo>
                    <a:pt x="432" y="463"/>
                  </a:lnTo>
                  <a:lnTo>
                    <a:pt x="324" y="463"/>
                  </a:lnTo>
                  <a:lnTo>
                    <a:pt x="324" y="355"/>
                  </a:lnTo>
                  <a:close/>
                  <a:moveTo>
                    <a:pt x="101" y="792"/>
                  </a:moveTo>
                  <a:lnTo>
                    <a:pt x="209" y="792"/>
                  </a:lnTo>
                  <a:lnTo>
                    <a:pt x="209" y="900"/>
                  </a:lnTo>
                  <a:lnTo>
                    <a:pt x="101" y="900"/>
                  </a:lnTo>
                  <a:lnTo>
                    <a:pt x="101" y="792"/>
                  </a:lnTo>
                  <a:close/>
                  <a:moveTo>
                    <a:pt x="101" y="574"/>
                  </a:moveTo>
                  <a:lnTo>
                    <a:pt x="209" y="574"/>
                  </a:lnTo>
                  <a:lnTo>
                    <a:pt x="209" y="682"/>
                  </a:lnTo>
                  <a:lnTo>
                    <a:pt x="101" y="682"/>
                  </a:lnTo>
                  <a:lnTo>
                    <a:pt x="101" y="574"/>
                  </a:lnTo>
                  <a:close/>
                  <a:moveTo>
                    <a:pt x="101" y="355"/>
                  </a:moveTo>
                  <a:lnTo>
                    <a:pt x="209" y="355"/>
                  </a:lnTo>
                  <a:lnTo>
                    <a:pt x="209" y="463"/>
                  </a:lnTo>
                  <a:lnTo>
                    <a:pt x="101" y="463"/>
                  </a:lnTo>
                  <a:lnTo>
                    <a:pt x="101" y="35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endParaRPr lang="ru-RU"/>
            </a:p>
          </p:txBody>
        </p:sp>
      </p:grpSp>
      <p:grpSp>
        <p:nvGrpSpPr>
          <p:cNvPr id="47" name="isḷidé">
            <a:extLst>
              <a:ext uri="{FF2B5EF4-FFF2-40B4-BE49-F238E27FC236}">
                <a16:creationId xmlns="" xmlns:a16="http://schemas.microsoft.com/office/drawing/2014/main" id="{421A1E40-8FE0-4B19-A050-BAF4E001F5BD}"/>
              </a:ext>
            </a:extLst>
          </p:cNvPr>
          <p:cNvGrpSpPr/>
          <p:nvPr userDrawn="1"/>
        </p:nvGrpSpPr>
        <p:grpSpPr>
          <a:xfrm flipH="1">
            <a:off x="8587607" y="4206928"/>
            <a:ext cx="2807116" cy="1687220"/>
            <a:chOff x="107951" y="2128838"/>
            <a:chExt cx="6645275" cy="3994150"/>
          </a:xfrm>
          <a:solidFill>
            <a:schemeClr val="accent5">
              <a:lumMod val="20000"/>
              <a:lumOff val="80000"/>
            </a:schemeClr>
          </a:solidFill>
        </p:grpSpPr>
        <p:sp>
          <p:nvSpPr>
            <p:cNvPr id="48" name="íŝḻïḓè">
              <a:extLst>
                <a:ext uri="{FF2B5EF4-FFF2-40B4-BE49-F238E27FC236}">
                  <a16:creationId xmlns="" xmlns:a16="http://schemas.microsoft.com/office/drawing/2014/main" id="{AE1CA999-4493-428F-ACF7-BA8F6B7DFE09}"/>
                </a:ext>
              </a:extLst>
            </p:cNvPr>
            <p:cNvSpPr/>
            <p:nvPr/>
          </p:nvSpPr>
          <p:spPr bwMode="auto">
            <a:xfrm>
              <a:off x="1074738" y="3060700"/>
              <a:ext cx="844550" cy="3062288"/>
            </a:xfrm>
            <a:custGeom>
              <a:avLst/>
              <a:gdLst>
                <a:gd name="T0" fmla="*/ 0 w 532"/>
                <a:gd name="T1" fmla="*/ 355 h 1929"/>
                <a:gd name="T2" fmla="*/ 0 w 532"/>
                <a:gd name="T3" fmla="*/ 1929 h 1929"/>
                <a:gd name="T4" fmla="*/ 532 w 532"/>
                <a:gd name="T5" fmla="*/ 1929 h 1929"/>
                <a:gd name="T6" fmla="*/ 532 w 532"/>
                <a:gd name="T7" fmla="*/ 0 h 1929"/>
                <a:gd name="T8" fmla="*/ 0 w 532"/>
                <a:gd name="T9" fmla="*/ 355 h 1929"/>
                <a:gd name="T10" fmla="*/ 69 w 532"/>
                <a:gd name="T11" fmla="*/ 1502 h 1929"/>
                <a:gd name="T12" fmla="*/ 462 w 532"/>
                <a:gd name="T13" fmla="*/ 1502 h 1929"/>
                <a:gd name="T14" fmla="*/ 462 w 532"/>
                <a:gd name="T15" fmla="*/ 1543 h 1929"/>
                <a:gd name="T16" fmla="*/ 69 w 532"/>
                <a:gd name="T17" fmla="*/ 1543 h 1929"/>
                <a:gd name="T18" fmla="*/ 69 w 532"/>
                <a:gd name="T19" fmla="*/ 1502 h 1929"/>
                <a:gd name="T20" fmla="*/ 69 w 532"/>
                <a:gd name="T21" fmla="*/ 1387 h 1929"/>
                <a:gd name="T22" fmla="*/ 462 w 532"/>
                <a:gd name="T23" fmla="*/ 1387 h 1929"/>
                <a:gd name="T24" fmla="*/ 462 w 532"/>
                <a:gd name="T25" fmla="*/ 1428 h 1929"/>
                <a:gd name="T26" fmla="*/ 69 w 532"/>
                <a:gd name="T27" fmla="*/ 1428 h 1929"/>
                <a:gd name="T28" fmla="*/ 69 w 532"/>
                <a:gd name="T29" fmla="*/ 1387 h 1929"/>
                <a:gd name="T30" fmla="*/ 69 w 532"/>
                <a:gd name="T31" fmla="*/ 1272 h 1929"/>
                <a:gd name="T32" fmla="*/ 462 w 532"/>
                <a:gd name="T33" fmla="*/ 1272 h 1929"/>
                <a:gd name="T34" fmla="*/ 462 w 532"/>
                <a:gd name="T35" fmla="*/ 1315 h 1929"/>
                <a:gd name="T36" fmla="*/ 69 w 532"/>
                <a:gd name="T37" fmla="*/ 1315 h 1929"/>
                <a:gd name="T38" fmla="*/ 69 w 532"/>
                <a:gd name="T39" fmla="*/ 1272 h 1929"/>
                <a:gd name="T40" fmla="*/ 69 w 532"/>
                <a:gd name="T41" fmla="*/ 1157 h 1929"/>
                <a:gd name="T42" fmla="*/ 462 w 532"/>
                <a:gd name="T43" fmla="*/ 1157 h 1929"/>
                <a:gd name="T44" fmla="*/ 462 w 532"/>
                <a:gd name="T45" fmla="*/ 1200 h 1929"/>
                <a:gd name="T46" fmla="*/ 69 w 532"/>
                <a:gd name="T47" fmla="*/ 1200 h 1929"/>
                <a:gd name="T48" fmla="*/ 69 w 532"/>
                <a:gd name="T49" fmla="*/ 1157 h 1929"/>
                <a:gd name="T50" fmla="*/ 69 w 532"/>
                <a:gd name="T51" fmla="*/ 1044 h 1929"/>
                <a:gd name="T52" fmla="*/ 462 w 532"/>
                <a:gd name="T53" fmla="*/ 1044 h 1929"/>
                <a:gd name="T54" fmla="*/ 462 w 532"/>
                <a:gd name="T55" fmla="*/ 1085 h 1929"/>
                <a:gd name="T56" fmla="*/ 69 w 532"/>
                <a:gd name="T57" fmla="*/ 1085 h 1929"/>
                <a:gd name="T58" fmla="*/ 69 w 532"/>
                <a:gd name="T59" fmla="*/ 1044 h 1929"/>
                <a:gd name="T60" fmla="*/ 69 w 532"/>
                <a:gd name="T61" fmla="*/ 929 h 1929"/>
                <a:gd name="T62" fmla="*/ 462 w 532"/>
                <a:gd name="T63" fmla="*/ 929 h 1929"/>
                <a:gd name="T64" fmla="*/ 462 w 532"/>
                <a:gd name="T65" fmla="*/ 969 h 1929"/>
                <a:gd name="T66" fmla="*/ 69 w 532"/>
                <a:gd name="T67" fmla="*/ 969 h 1929"/>
                <a:gd name="T68" fmla="*/ 69 w 532"/>
                <a:gd name="T69" fmla="*/ 929 h 1929"/>
                <a:gd name="T70" fmla="*/ 69 w 532"/>
                <a:gd name="T71" fmla="*/ 814 h 1929"/>
                <a:gd name="T72" fmla="*/ 462 w 532"/>
                <a:gd name="T73" fmla="*/ 814 h 1929"/>
                <a:gd name="T74" fmla="*/ 462 w 532"/>
                <a:gd name="T75" fmla="*/ 854 h 1929"/>
                <a:gd name="T76" fmla="*/ 69 w 532"/>
                <a:gd name="T77" fmla="*/ 854 h 1929"/>
                <a:gd name="T78" fmla="*/ 69 w 532"/>
                <a:gd name="T79" fmla="*/ 814 h 1929"/>
                <a:gd name="T80" fmla="*/ 69 w 532"/>
                <a:gd name="T81" fmla="*/ 698 h 1929"/>
                <a:gd name="T82" fmla="*/ 462 w 532"/>
                <a:gd name="T83" fmla="*/ 698 h 1929"/>
                <a:gd name="T84" fmla="*/ 462 w 532"/>
                <a:gd name="T85" fmla="*/ 739 h 1929"/>
                <a:gd name="T86" fmla="*/ 69 w 532"/>
                <a:gd name="T87" fmla="*/ 739 h 1929"/>
                <a:gd name="T88" fmla="*/ 69 w 532"/>
                <a:gd name="T89" fmla="*/ 698 h 1929"/>
                <a:gd name="T90" fmla="*/ 69 w 532"/>
                <a:gd name="T91" fmla="*/ 583 h 1929"/>
                <a:gd name="T92" fmla="*/ 462 w 532"/>
                <a:gd name="T93" fmla="*/ 583 h 1929"/>
                <a:gd name="T94" fmla="*/ 462 w 532"/>
                <a:gd name="T95" fmla="*/ 626 h 1929"/>
                <a:gd name="T96" fmla="*/ 69 w 532"/>
                <a:gd name="T97" fmla="*/ 626 h 1929"/>
                <a:gd name="T98" fmla="*/ 69 w 532"/>
                <a:gd name="T99" fmla="*/ 583 h 1929"/>
                <a:gd name="T100" fmla="*/ 69 w 532"/>
                <a:gd name="T101" fmla="*/ 468 h 1929"/>
                <a:gd name="T102" fmla="*/ 462 w 532"/>
                <a:gd name="T103" fmla="*/ 468 h 1929"/>
                <a:gd name="T104" fmla="*/ 462 w 532"/>
                <a:gd name="T105" fmla="*/ 511 h 1929"/>
                <a:gd name="T106" fmla="*/ 69 w 532"/>
                <a:gd name="T107" fmla="*/ 511 h 1929"/>
                <a:gd name="T108" fmla="*/ 69 w 532"/>
                <a:gd name="T109" fmla="*/ 468 h 19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532" h="1929">
                  <a:moveTo>
                    <a:pt x="0" y="355"/>
                  </a:moveTo>
                  <a:lnTo>
                    <a:pt x="0" y="1929"/>
                  </a:lnTo>
                  <a:lnTo>
                    <a:pt x="532" y="1929"/>
                  </a:lnTo>
                  <a:lnTo>
                    <a:pt x="532" y="0"/>
                  </a:lnTo>
                  <a:lnTo>
                    <a:pt x="0" y="355"/>
                  </a:lnTo>
                  <a:close/>
                  <a:moveTo>
                    <a:pt x="69" y="1502"/>
                  </a:moveTo>
                  <a:lnTo>
                    <a:pt x="462" y="1502"/>
                  </a:lnTo>
                  <a:lnTo>
                    <a:pt x="462" y="1543"/>
                  </a:lnTo>
                  <a:lnTo>
                    <a:pt x="69" y="1543"/>
                  </a:lnTo>
                  <a:lnTo>
                    <a:pt x="69" y="1502"/>
                  </a:lnTo>
                  <a:close/>
                  <a:moveTo>
                    <a:pt x="69" y="1387"/>
                  </a:moveTo>
                  <a:lnTo>
                    <a:pt x="462" y="1387"/>
                  </a:lnTo>
                  <a:lnTo>
                    <a:pt x="462" y="1428"/>
                  </a:lnTo>
                  <a:lnTo>
                    <a:pt x="69" y="1428"/>
                  </a:lnTo>
                  <a:lnTo>
                    <a:pt x="69" y="1387"/>
                  </a:lnTo>
                  <a:close/>
                  <a:moveTo>
                    <a:pt x="69" y="1272"/>
                  </a:moveTo>
                  <a:lnTo>
                    <a:pt x="462" y="1272"/>
                  </a:lnTo>
                  <a:lnTo>
                    <a:pt x="462" y="1315"/>
                  </a:lnTo>
                  <a:lnTo>
                    <a:pt x="69" y="1315"/>
                  </a:lnTo>
                  <a:lnTo>
                    <a:pt x="69" y="1272"/>
                  </a:lnTo>
                  <a:close/>
                  <a:moveTo>
                    <a:pt x="69" y="1157"/>
                  </a:moveTo>
                  <a:lnTo>
                    <a:pt x="462" y="1157"/>
                  </a:lnTo>
                  <a:lnTo>
                    <a:pt x="462" y="1200"/>
                  </a:lnTo>
                  <a:lnTo>
                    <a:pt x="69" y="1200"/>
                  </a:lnTo>
                  <a:lnTo>
                    <a:pt x="69" y="1157"/>
                  </a:lnTo>
                  <a:close/>
                  <a:moveTo>
                    <a:pt x="69" y="1044"/>
                  </a:moveTo>
                  <a:lnTo>
                    <a:pt x="462" y="1044"/>
                  </a:lnTo>
                  <a:lnTo>
                    <a:pt x="462" y="1085"/>
                  </a:lnTo>
                  <a:lnTo>
                    <a:pt x="69" y="1085"/>
                  </a:lnTo>
                  <a:lnTo>
                    <a:pt x="69" y="1044"/>
                  </a:lnTo>
                  <a:close/>
                  <a:moveTo>
                    <a:pt x="69" y="929"/>
                  </a:moveTo>
                  <a:lnTo>
                    <a:pt x="462" y="929"/>
                  </a:lnTo>
                  <a:lnTo>
                    <a:pt x="462" y="969"/>
                  </a:lnTo>
                  <a:lnTo>
                    <a:pt x="69" y="969"/>
                  </a:lnTo>
                  <a:lnTo>
                    <a:pt x="69" y="929"/>
                  </a:lnTo>
                  <a:close/>
                  <a:moveTo>
                    <a:pt x="69" y="814"/>
                  </a:moveTo>
                  <a:lnTo>
                    <a:pt x="462" y="814"/>
                  </a:lnTo>
                  <a:lnTo>
                    <a:pt x="462" y="854"/>
                  </a:lnTo>
                  <a:lnTo>
                    <a:pt x="69" y="854"/>
                  </a:lnTo>
                  <a:lnTo>
                    <a:pt x="69" y="814"/>
                  </a:lnTo>
                  <a:close/>
                  <a:moveTo>
                    <a:pt x="69" y="698"/>
                  </a:moveTo>
                  <a:lnTo>
                    <a:pt x="462" y="698"/>
                  </a:lnTo>
                  <a:lnTo>
                    <a:pt x="462" y="739"/>
                  </a:lnTo>
                  <a:lnTo>
                    <a:pt x="69" y="739"/>
                  </a:lnTo>
                  <a:lnTo>
                    <a:pt x="69" y="698"/>
                  </a:lnTo>
                  <a:close/>
                  <a:moveTo>
                    <a:pt x="69" y="583"/>
                  </a:moveTo>
                  <a:lnTo>
                    <a:pt x="462" y="583"/>
                  </a:lnTo>
                  <a:lnTo>
                    <a:pt x="462" y="626"/>
                  </a:lnTo>
                  <a:lnTo>
                    <a:pt x="69" y="626"/>
                  </a:lnTo>
                  <a:lnTo>
                    <a:pt x="69" y="583"/>
                  </a:lnTo>
                  <a:close/>
                  <a:moveTo>
                    <a:pt x="69" y="468"/>
                  </a:moveTo>
                  <a:lnTo>
                    <a:pt x="462" y="468"/>
                  </a:lnTo>
                  <a:lnTo>
                    <a:pt x="462" y="511"/>
                  </a:lnTo>
                  <a:lnTo>
                    <a:pt x="69" y="511"/>
                  </a:lnTo>
                  <a:lnTo>
                    <a:pt x="69" y="46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endParaRPr lang="ru-RU"/>
            </a:p>
          </p:txBody>
        </p:sp>
        <p:sp>
          <p:nvSpPr>
            <p:cNvPr id="49" name="iŝļïďe">
              <a:extLst>
                <a:ext uri="{FF2B5EF4-FFF2-40B4-BE49-F238E27FC236}">
                  <a16:creationId xmlns="" xmlns:a16="http://schemas.microsoft.com/office/drawing/2014/main" id="{E1CDC87C-6C78-4C46-9BD6-4E28F1FAF9B5}"/>
                </a:ext>
              </a:extLst>
            </p:cNvPr>
            <p:cNvSpPr/>
            <p:nvPr/>
          </p:nvSpPr>
          <p:spPr bwMode="auto">
            <a:xfrm>
              <a:off x="107951" y="3571875"/>
              <a:ext cx="844550" cy="2551113"/>
            </a:xfrm>
            <a:custGeom>
              <a:avLst/>
              <a:gdLst>
                <a:gd name="T0" fmla="*/ 0 w 532"/>
                <a:gd name="T1" fmla="*/ 314 h 1607"/>
                <a:gd name="T2" fmla="*/ 0 w 532"/>
                <a:gd name="T3" fmla="*/ 1607 h 1607"/>
                <a:gd name="T4" fmla="*/ 532 w 532"/>
                <a:gd name="T5" fmla="*/ 1607 h 1607"/>
                <a:gd name="T6" fmla="*/ 532 w 532"/>
                <a:gd name="T7" fmla="*/ 314 h 1607"/>
                <a:gd name="T8" fmla="*/ 347 w 532"/>
                <a:gd name="T9" fmla="*/ 314 h 1607"/>
                <a:gd name="T10" fmla="*/ 347 w 532"/>
                <a:gd name="T11" fmla="*/ 192 h 1607"/>
                <a:gd name="T12" fmla="*/ 242 w 532"/>
                <a:gd name="T13" fmla="*/ 192 h 1607"/>
                <a:gd name="T14" fmla="*/ 242 w 532"/>
                <a:gd name="T15" fmla="*/ 314 h 1607"/>
                <a:gd name="T16" fmla="*/ 163 w 532"/>
                <a:gd name="T17" fmla="*/ 314 h 1607"/>
                <a:gd name="T18" fmla="*/ 163 w 532"/>
                <a:gd name="T19" fmla="*/ 0 h 1607"/>
                <a:gd name="T20" fmla="*/ 55 w 532"/>
                <a:gd name="T21" fmla="*/ 0 h 1607"/>
                <a:gd name="T22" fmla="*/ 55 w 532"/>
                <a:gd name="T23" fmla="*/ 314 h 1607"/>
                <a:gd name="T24" fmla="*/ 0 w 532"/>
                <a:gd name="T25" fmla="*/ 314 h 1607"/>
                <a:gd name="T26" fmla="*/ 335 w 532"/>
                <a:gd name="T27" fmla="*/ 1226 h 1607"/>
                <a:gd name="T28" fmla="*/ 438 w 532"/>
                <a:gd name="T29" fmla="*/ 1226 h 1607"/>
                <a:gd name="T30" fmla="*/ 438 w 532"/>
                <a:gd name="T31" fmla="*/ 1329 h 1607"/>
                <a:gd name="T32" fmla="*/ 335 w 532"/>
                <a:gd name="T33" fmla="*/ 1329 h 1607"/>
                <a:gd name="T34" fmla="*/ 335 w 532"/>
                <a:gd name="T35" fmla="*/ 1226 h 1607"/>
                <a:gd name="T36" fmla="*/ 335 w 532"/>
                <a:gd name="T37" fmla="*/ 1034 h 1607"/>
                <a:gd name="T38" fmla="*/ 438 w 532"/>
                <a:gd name="T39" fmla="*/ 1034 h 1607"/>
                <a:gd name="T40" fmla="*/ 438 w 532"/>
                <a:gd name="T41" fmla="*/ 1137 h 1607"/>
                <a:gd name="T42" fmla="*/ 335 w 532"/>
                <a:gd name="T43" fmla="*/ 1137 h 1607"/>
                <a:gd name="T44" fmla="*/ 335 w 532"/>
                <a:gd name="T45" fmla="*/ 1034 h 1607"/>
                <a:gd name="T46" fmla="*/ 335 w 532"/>
                <a:gd name="T47" fmla="*/ 842 h 1607"/>
                <a:gd name="T48" fmla="*/ 438 w 532"/>
                <a:gd name="T49" fmla="*/ 842 h 1607"/>
                <a:gd name="T50" fmla="*/ 438 w 532"/>
                <a:gd name="T51" fmla="*/ 947 h 1607"/>
                <a:gd name="T52" fmla="*/ 335 w 532"/>
                <a:gd name="T53" fmla="*/ 947 h 1607"/>
                <a:gd name="T54" fmla="*/ 335 w 532"/>
                <a:gd name="T55" fmla="*/ 842 h 1607"/>
                <a:gd name="T56" fmla="*/ 335 w 532"/>
                <a:gd name="T57" fmla="*/ 652 h 1607"/>
                <a:gd name="T58" fmla="*/ 438 w 532"/>
                <a:gd name="T59" fmla="*/ 652 h 1607"/>
                <a:gd name="T60" fmla="*/ 438 w 532"/>
                <a:gd name="T61" fmla="*/ 755 h 1607"/>
                <a:gd name="T62" fmla="*/ 335 w 532"/>
                <a:gd name="T63" fmla="*/ 755 h 1607"/>
                <a:gd name="T64" fmla="*/ 335 w 532"/>
                <a:gd name="T65" fmla="*/ 652 h 1607"/>
                <a:gd name="T66" fmla="*/ 335 w 532"/>
                <a:gd name="T67" fmla="*/ 460 h 1607"/>
                <a:gd name="T68" fmla="*/ 438 w 532"/>
                <a:gd name="T69" fmla="*/ 460 h 1607"/>
                <a:gd name="T70" fmla="*/ 438 w 532"/>
                <a:gd name="T71" fmla="*/ 566 h 1607"/>
                <a:gd name="T72" fmla="*/ 335 w 532"/>
                <a:gd name="T73" fmla="*/ 566 h 1607"/>
                <a:gd name="T74" fmla="*/ 335 w 532"/>
                <a:gd name="T75" fmla="*/ 460 h 1607"/>
                <a:gd name="T76" fmla="*/ 93 w 532"/>
                <a:gd name="T77" fmla="*/ 1226 h 1607"/>
                <a:gd name="T78" fmla="*/ 196 w 532"/>
                <a:gd name="T79" fmla="*/ 1226 h 1607"/>
                <a:gd name="T80" fmla="*/ 196 w 532"/>
                <a:gd name="T81" fmla="*/ 1329 h 1607"/>
                <a:gd name="T82" fmla="*/ 93 w 532"/>
                <a:gd name="T83" fmla="*/ 1329 h 1607"/>
                <a:gd name="T84" fmla="*/ 93 w 532"/>
                <a:gd name="T85" fmla="*/ 1226 h 1607"/>
                <a:gd name="T86" fmla="*/ 93 w 532"/>
                <a:gd name="T87" fmla="*/ 1034 h 1607"/>
                <a:gd name="T88" fmla="*/ 196 w 532"/>
                <a:gd name="T89" fmla="*/ 1034 h 1607"/>
                <a:gd name="T90" fmla="*/ 196 w 532"/>
                <a:gd name="T91" fmla="*/ 1137 h 1607"/>
                <a:gd name="T92" fmla="*/ 93 w 532"/>
                <a:gd name="T93" fmla="*/ 1137 h 1607"/>
                <a:gd name="T94" fmla="*/ 93 w 532"/>
                <a:gd name="T95" fmla="*/ 1034 h 1607"/>
                <a:gd name="T96" fmla="*/ 93 w 532"/>
                <a:gd name="T97" fmla="*/ 842 h 1607"/>
                <a:gd name="T98" fmla="*/ 196 w 532"/>
                <a:gd name="T99" fmla="*/ 842 h 1607"/>
                <a:gd name="T100" fmla="*/ 196 w 532"/>
                <a:gd name="T101" fmla="*/ 947 h 1607"/>
                <a:gd name="T102" fmla="*/ 93 w 532"/>
                <a:gd name="T103" fmla="*/ 947 h 1607"/>
                <a:gd name="T104" fmla="*/ 93 w 532"/>
                <a:gd name="T105" fmla="*/ 842 h 1607"/>
                <a:gd name="T106" fmla="*/ 93 w 532"/>
                <a:gd name="T107" fmla="*/ 652 h 1607"/>
                <a:gd name="T108" fmla="*/ 196 w 532"/>
                <a:gd name="T109" fmla="*/ 652 h 1607"/>
                <a:gd name="T110" fmla="*/ 196 w 532"/>
                <a:gd name="T111" fmla="*/ 755 h 1607"/>
                <a:gd name="T112" fmla="*/ 93 w 532"/>
                <a:gd name="T113" fmla="*/ 755 h 1607"/>
                <a:gd name="T114" fmla="*/ 93 w 532"/>
                <a:gd name="T115" fmla="*/ 652 h 1607"/>
                <a:gd name="T116" fmla="*/ 93 w 532"/>
                <a:gd name="T117" fmla="*/ 460 h 1607"/>
                <a:gd name="T118" fmla="*/ 196 w 532"/>
                <a:gd name="T119" fmla="*/ 460 h 1607"/>
                <a:gd name="T120" fmla="*/ 196 w 532"/>
                <a:gd name="T121" fmla="*/ 566 h 1607"/>
                <a:gd name="T122" fmla="*/ 93 w 532"/>
                <a:gd name="T123" fmla="*/ 566 h 1607"/>
                <a:gd name="T124" fmla="*/ 93 w 532"/>
                <a:gd name="T125" fmla="*/ 460 h 16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532" h="1607">
                  <a:moveTo>
                    <a:pt x="0" y="314"/>
                  </a:moveTo>
                  <a:lnTo>
                    <a:pt x="0" y="1607"/>
                  </a:lnTo>
                  <a:lnTo>
                    <a:pt x="532" y="1607"/>
                  </a:lnTo>
                  <a:lnTo>
                    <a:pt x="532" y="314"/>
                  </a:lnTo>
                  <a:lnTo>
                    <a:pt x="347" y="314"/>
                  </a:lnTo>
                  <a:lnTo>
                    <a:pt x="347" y="192"/>
                  </a:lnTo>
                  <a:lnTo>
                    <a:pt x="242" y="192"/>
                  </a:lnTo>
                  <a:lnTo>
                    <a:pt x="242" y="314"/>
                  </a:lnTo>
                  <a:lnTo>
                    <a:pt x="163" y="314"/>
                  </a:lnTo>
                  <a:lnTo>
                    <a:pt x="163" y="0"/>
                  </a:lnTo>
                  <a:lnTo>
                    <a:pt x="55" y="0"/>
                  </a:lnTo>
                  <a:lnTo>
                    <a:pt x="55" y="314"/>
                  </a:lnTo>
                  <a:lnTo>
                    <a:pt x="0" y="314"/>
                  </a:lnTo>
                  <a:close/>
                  <a:moveTo>
                    <a:pt x="335" y="1226"/>
                  </a:moveTo>
                  <a:lnTo>
                    <a:pt x="438" y="1226"/>
                  </a:lnTo>
                  <a:lnTo>
                    <a:pt x="438" y="1329"/>
                  </a:lnTo>
                  <a:lnTo>
                    <a:pt x="335" y="1329"/>
                  </a:lnTo>
                  <a:lnTo>
                    <a:pt x="335" y="1226"/>
                  </a:lnTo>
                  <a:close/>
                  <a:moveTo>
                    <a:pt x="335" y="1034"/>
                  </a:moveTo>
                  <a:lnTo>
                    <a:pt x="438" y="1034"/>
                  </a:lnTo>
                  <a:lnTo>
                    <a:pt x="438" y="1137"/>
                  </a:lnTo>
                  <a:lnTo>
                    <a:pt x="335" y="1137"/>
                  </a:lnTo>
                  <a:lnTo>
                    <a:pt x="335" y="1034"/>
                  </a:lnTo>
                  <a:close/>
                  <a:moveTo>
                    <a:pt x="335" y="842"/>
                  </a:moveTo>
                  <a:lnTo>
                    <a:pt x="438" y="842"/>
                  </a:lnTo>
                  <a:lnTo>
                    <a:pt x="438" y="947"/>
                  </a:lnTo>
                  <a:lnTo>
                    <a:pt x="335" y="947"/>
                  </a:lnTo>
                  <a:lnTo>
                    <a:pt x="335" y="842"/>
                  </a:lnTo>
                  <a:close/>
                  <a:moveTo>
                    <a:pt x="335" y="652"/>
                  </a:moveTo>
                  <a:lnTo>
                    <a:pt x="438" y="652"/>
                  </a:lnTo>
                  <a:lnTo>
                    <a:pt x="438" y="755"/>
                  </a:lnTo>
                  <a:lnTo>
                    <a:pt x="335" y="755"/>
                  </a:lnTo>
                  <a:lnTo>
                    <a:pt x="335" y="652"/>
                  </a:lnTo>
                  <a:close/>
                  <a:moveTo>
                    <a:pt x="335" y="460"/>
                  </a:moveTo>
                  <a:lnTo>
                    <a:pt x="438" y="460"/>
                  </a:lnTo>
                  <a:lnTo>
                    <a:pt x="438" y="566"/>
                  </a:lnTo>
                  <a:lnTo>
                    <a:pt x="335" y="566"/>
                  </a:lnTo>
                  <a:lnTo>
                    <a:pt x="335" y="460"/>
                  </a:lnTo>
                  <a:close/>
                  <a:moveTo>
                    <a:pt x="93" y="1226"/>
                  </a:moveTo>
                  <a:lnTo>
                    <a:pt x="196" y="1226"/>
                  </a:lnTo>
                  <a:lnTo>
                    <a:pt x="196" y="1329"/>
                  </a:lnTo>
                  <a:lnTo>
                    <a:pt x="93" y="1329"/>
                  </a:lnTo>
                  <a:lnTo>
                    <a:pt x="93" y="1226"/>
                  </a:lnTo>
                  <a:close/>
                  <a:moveTo>
                    <a:pt x="93" y="1034"/>
                  </a:moveTo>
                  <a:lnTo>
                    <a:pt x="196" y="1034"/>
                  </a:lnTo>
                  <a:lnTo>
                    <a:pt x="196" y="1137"/>
                  </a:lnTo>
                  <a:lnTo>
                    <a:pt x="93" y="1137"/>
                  </a:lnTo>
                  <a:lnTo>
                    <a:pt x="93" y="1034"/>
                  </a:lnTo>
                  <a:close/>
                  <a:moveTo>
                    <a:pt x="93" y="842"/>
                  </a:moveTo>
                  <a:lnTo>
                    <a:pt x="196" y="842"/>
                  </a:lnTo>
                  <a:lnTo>
                    <a:pt x="196" y="947"/>
                  </a:lnTo>
                  <a:lnTo>
                    <a:pt x="93" y="947"/>
                  </a:lnTo>
                  <a:lnTo>
                    <a:pt x="93" y="842"/>
                  </a:lnTo>
                  <a:close/>
                  <a:moveTo>
                    <a:pt x="93" y="652"/>
                  </a:moveTo>
                  <a:lnTo>
                    <a:pt x="196" y="652"/>
                  </a:lnTo>
                  <a:lnTo>
                    <a:pt x="196" y="755"/>
                  </a:lnTo>
                  <a:lnTo>
                    <a:pt x="93" y="755"/>
                  </a:lnTo>
                  <a:lnTo>
                    <a:pt x="93" y="652"/>
                  </a:lnTo>
                  <a:close/>
                  <a:moveTo>
                    <a:pt x="93" y="460"/>
                  </a:moveTo>
                  <a:lnTo>
                    <a:pt x="196" y="460"/>
                  </a:lnTo>
                  <a:lnTo>
                    <a:pt x="196" y="566"/>
                  </a:lnTo>
                  <a:lnTo>
                    <a:pt x="93" y="566"/>
                  </a:lnTo>
                  <a:lnTo>
                    <a:pt x="93" y="4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endParaRPr lang="ru-RU"/>
            </a:p>
          </p:txBody>
        </p:sp>
        <p:sp>
          <p:nvSpPr>
            <p:cNvPr id="50" name="işḻîdê">
              <a:extLst>
                <a:ext uri="{FF2B5EF4-FFF2-40B4-BE49-F238E27FC236}">
                  <a16:creationId xmlns="" xmlns:a16="http://schemas.microsoft.com/office/drawing/2014/main" id="{D605F642-22D8-4E37-8D97-D01976A65A8A}"/>
                </a:ext>
              </a:extLst>
            </p:cNvPr>
            <p:cNvSpPr/>
            <p:nvPr/>
          </p:nvSpPr>
          <p:spPr bwMode="auto">
            <a:xfrm>
              <a:off x="3008313" y="2128838"/>
              <a:ext cx="844550" cy="3994150"/>
            </a:xfrm>
            <a:custGeom>
              <a:avLst/>
              <a:gdLst>
                <a:gd name="T0" fmla="*/ 0 w 532"/>
                <a:gd name="T1" fmla="*/ 463 h 2516"/>
                <a:gd name="T2" fmla="*/ 0 w 532"/>
                <a:gd name="T3" fmla="*/ 2516 h 2516"/>
                <a:gd name="T4" fmla="*/ 532 w 532"/>
                <a:gd name="T5" fmla="*/ 2516 h 2516"/>
                <a:gd name="T6" fmla="*/ 532 w 532"/>
                <a:gd name="T7" fmla="*/ 463 h 2516"/>
                <a:gd name="T8" fmla="*/ 258 w 532"/>
                <a:gd name="T9" fmla="*/ 0 h 2516"/>
                <a:gd name="T10" fmla="*/ 0 w 532"/>
                <a:gd name="T11" fmla="*/ 463 h 2516"/>
                <a:gd name="T12" fmla="*/ 371 w 532"/>
                <a:gd name="T13" fmla="*/ 1832 h 2516"/>
                <a:gd name="T14" fmla="*/ 443 w 532"/>
                <a:gd name="T15" fmla="*/ 1832 h 2516"/>
                <a:gd name="T16" fmla="*/ 443 w 532"/>
                <a:gd name="T17" fmla="*/ 2139 h 2516"/>
                <a:gd name="T18" fmla="*/ 371 w 532"/>
                <a:gd name="T19" fmla="*/ 2139 h 2516"/>
                <a:gd name="T20" fmla="*/ 371 w 532"/>
                <a:gd name="T21" fmla="*/ 1832 h 2516"/>
                <a:gd name="T22" fmla="*/ 371 w 532"/>
                <a:gd name="T23" fmla="*/ 1432 h 2516"/>
                <a:gd name="T24" fmla="*/ 443 w 532"/>
                <a:gd name="T25" fmla="*/ 1432 h 2516"/>
                <a:gd name="T26" fmla="*/ 443 w 532"/>
                <a:gd name="T27" fmla="*/ 1739 h 2516"/>
                <a:gd name="T28" fmla="*/ 371 w 532"/>
                <a:gd name="T29" fmla="*/ 1739 h 2516"/>
                <a:gd name="T30" fmla="*/ 371 w 532"/>
                <a:gd name="T31" fmla="*/ 1432 h 2516"/>
                <a:gd name="T32" fmla="*/ 371 w 532"/>
                <a:gd name="T33" fmla="*/ 630 h 2516"/>
                <a:gd name="T34" fmla="*/ 443 w 532"/>
                <a:gd name="T35" fmla="*/ 630 h 2516"/>
                <a:gd name="T36" fmla="*/ 443 w 532"/>
                <a:gd name="T37" fmla="*/ 938 h 2516"/>
                <a:gd name="T38" fmla="*/ 371 w 532"/>
                <a:gd name="T39" fmla="*/ 938 h 2516"/>
                <a:gd name="T40" fmla="*/ 371 w 532"/>
                <a:gd name="T41" fmla="*/ 630 h 2516"/>
                <a:gd name="T42" fmla="*/ 230 w 532"/>
                <a:gd name="T43" fmla="*/ 1832 h 2516"/>
                <a:gd name="T44" fmla="*/ 302 w 532"/>
                <a:gd name="T45" fmla="*/ 1832 h 2516"/>
                <a:gd name="T46" fmla="*/ 302 w 532"/>
                <a:gd name="T47" fmla="*/ 2139 h 2516"/>
                <a:gd name="T48" fmla="*/ 230 w 532"/>
                <a:gd name="T49" fmla="*/ 2139 h 2516"/>
                <a:gd name="T50" fmla="*/ 230 w 532"/>
                <a:gd name="T51" fmla="*/ 1832 h 2516"/>
                <a:gd name="T52" fmla="*/ 230 w 532"/>
                <a:gd name="T53" fmla="*/ 1432 h 2516"/>
                <a:gd name="T54" fmla="*/ 302 w 532"/>
                <a:gd name="T55" fmla="*/ 1432 h 2516"/>
                <a:gd name="T56" fmla="*/ 302 w 532"/>
                <a:gd name="T57" fmla="*/ 1739 h 2516"/>
                <a:gd name="T58" fmla="*/ 230 w 532"/>
                <a:gd name="T59" fmla="*/ 1739 h 2516"/>
                <a:gd name="T60" fmla="*/ 230 w 532"/>
                <a:gd name="T61" fmla="*/ 1432 h 2516"/>
                <a:gd name="T62" fmla="*/ 230 w 532"/>
                <a:gd name="T63" fmla="*/ 1031 h 2516"/>
                <a:gd name="T64" fmla="*/ 302 w 532"/>
                <a:gd name="T65" fmla="*/ 1031 h 2516"/>
                <a:gd name="T66" fmla="*/ 302 w 532"/>
                <a:gd name="T67" fmla="*/ 1338 h 2516"/>
                <a:gd name="T68" fmla="*/ 230 w 532"/>
                <a:gd name="T69" fmla="*/ 1338 h 2516"/>
                <a:gd name="T70" fmla="*/ 230 w 532"/>
                <a:gd name="T71" fmla="*/ 1031 h 2516"/>
                <a:gd name="T72" fmla="*/ 230 w 532"/>
                <a:gd name="T73" fmla="*/ 630 h 2516"/>
                <a:gd name="T74" fmla="*/ 302 w 532"/>
                <a:gd name="T75" fmla="*/ 630 h 2516"/>
                <a:gd name="T76" fmla="*/ 302 w 532"/>
                <a:gd name="T77" fmla="*/ 938 h 2516"/>
                <a:gd name="T78" fmla="*/ 230 w 532"/>
                <a:gd name="T79" fmla="*/ 938 h 2516"/>
                <a:gd name="T80" fmla="*/ 230 w 532"/>
                <a:gd name="T81" fmla="*/ 630 h 2516"/>
                <a:gd name="T82" fmla="*/ 88 w 532"/>
                <a:gd name="T83" fmla="*/ 1832 h 2516"/>
                <a:gd name="T84" fmla="*/ 160 w 532"/>
                <a:gd name="T85" fmla="*/ 1832 h 2516"/>
                <a:gd name="T86" fmla="*/ 160 w 532"/>
                <a:gd name="T87" fmla="*/ 2139 h 2516"/>
                <a:gd name="T88" fmla="*/ 88 w 532"/>
                <a:gd name="T89" fmla="*/ 2139 h 2516"/>
                <a:gd name="T90" fmla="*/ 88 w 532"/>
                <a:gd name="T91" fmla="*/ 1832 h 2516"/>
                <a:gd name="T92" fmla="*/ 88 w 532"/>
                <a:gd name="T93" fmla="*/ 1031 h 2516"/>
                <a:gd name="T94" fmla="*/ 160 w 532"/>
                <a:gd name="T95" fmla="*/ 1031 h 2516"/>
                <a:gd name="T96" fmla="*/ 160 w 532"/>
                <a:gd name="T97" fmla="*/ 1338 h 2516"/>
                <a:gd name="T98" fmla="*/ 88 w 532"/>
                <a:gd name="T99" fmla="*/ 1338 h 2516"/>
                <a:gd name="T100" fmla="*/ 88 w 532"/>
                <a:gd name="T101" fmla="*/ 1031 h 25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532" h="2516">
                  <a:moveTo>
                    <a:pt x="0" y="463"/>
                  </a:moveTo>
                  <a:lnTo>
                    <a:pt x="0" y="2516"/>
                  </a:lnTo>
                  <a:lnTo>
                    <a:pt x="532" y="2516"/>
                  </a:lnTo>
                  <a:lnTo>
                    <a:pt x="532" y="463"/>
                  </a:lnTo>
                  <a:lnTo>
                    <a:pt x="258" y="0"/>
                  </a:lnTo>
                  <a:lnTo>
                    <a:pt x="0" y="463"/>
                  </a:lnTo>
                  <a:close/>
                  <a:moveTo>
                    <a:pt x="371" y="1832"/>
                  </a:moveTo>
                  <a:lnTo>
                    <a:pt x="443" y="1832"/>
                  </a:lnTo>
                  <a:lnTo>
                    <a:pt x="443" y="2139"/>
                  </a:lnTo>
                  <a:lnTo>
                    <a:pt x="371" y="2139"/>
                  </a:lnTo>
                  <a:lnTo>
                    <a:pt x="371" y="1832"/>
                  </a:lnTo>
                  <a:close/>
                  <a:moveTo>
                    <a:pt x="371" y="1432"/>
                  </a:moveTo>
                  <a:lnTo>
                    <a:pt x="443" y="1432"/>
                  </a:lnTo>
                  <a:lnTo>
                    <a:pt x="443" y="1739"/>
                  </a:lnTo>
                  <a:lnTo>
                    <a:pt x="371" y="1739"/>
                  </a:lnTo>
                  <a:lnTo>
                    <a:pt x="371" y="1432"/>
                  </a:lnTo>
                  <a:close/>
                  <a:moveTo>
                    <a:pt x="371" y="630"/>
                  </a:moveTo>
                  <a:lnTo>
                    <a:pt x="443" y="630"/>
                  </a:lnTo>
                  <a:lnTo>
                    <a:pt x="443" y="938"/>
                  </a:lnTo>
                  <a:lnTo>
                    <a:pt x="371" y="938"/>
                  </a:lnTo>
                  <a:lnTo>
                    <a:pt x="371" y="630"/>
                  </a:lnTo>
                  <a:close/>
                  <a:moveTo>
                    <a:pt x="230" y="1832"/>
                  </a:moveTo>
                  <a:lnTo>
                    <a:pt x="302" y="1832"/>
                  </a:lnTo>
                  <a:lnTo>
                    <a:pt x="302" y="2139"/>
                  </a:lnTo>
                  <a:lnTo>
                    <a:pt x="230" y="2139"/>
                  </a:lnTo>
                  <a:lnTo>
                    <a:pt x="230" y="1832"/>
                  </a:lnTo>
                  <a:close/>
                  <a:moveTo>
                    <a:pt x="230" y="1432"/>
                  </a:moveTo>
                  <a:lnTo>
                    <a:pt x="302" y="1432"/>
                  </a:lnTo>
                  <a:lnTo>
                    <a:pt x="302" y="1739"/>
                  </a:lnTo>
                  <a:lnTo>
                    <a:pt x="230" y="1739"/>
                  </a:lnTo>
                  <a:lnTo>
                    <a:pt x="230" y="1432"/>
                  </a:lnTo>
                  <a:close/>
                  <a:moveTo>
                    <a:pt x="230" y="1031"/>
                  </a:moveTo>
                  <a:lnTo>
                    <a:pt x="302" y="1031"/>
                  </a:lnTo>
                  <a:lnTo>
                    <a:pt x="302" y="1338"/>
                  </a:lnTo>
                  <a:lnTo>
                    <a:pt x="230" y="1338"/>
                  </a:lnTo>
                  <a:lnTo>
                    <a:pt x="230" y="1031"/>
                  </a:lnTo>
                  <a:close/>
                  <a:moveTo>
                    <a:pt x="230" y="630"/>
                  </a:moveTo>
                  <a:lnTo>
                    <a:pt x="302" y="630"/>
                  </a:lnTo>
                  <a:lnTo>
                    <a:pt x="302" y="938"/>
                  </a:lnTo>
                  <a:lnTo>
                    <a:pt x="230" y="938"/>
                  </a:lnTo>
                  <a:lnTo>
                    <a:pt x="230" y="630"/>
                  </a:lnTo>
                  <a:close/>
                  <a:moveTo>
                    <a:pt x="88" y="1832"/>
                  </a:moveTo>
                  <a:lnTo>
                    <a:pt x="160" y="1832"/>
                  </a:lnTo>
                  <a:lnTo>
                    <a:pt x="160" y="2139"/>
                  </a:lnTo>
                  <a:lnTo>
                    <a:pt x="88" y="2139"/>
                  </a:lnTo>
                  <a:lnTo>
                    <a:pt x="88" y="1832"/>
                  </a:lnTo>
                  <a:close/>
                  <a:moveTo>
                    <a:pt x="88" y="1031"/>
                  </a:moveTo>
                  <a:lnTo>
                    <a:pt x="160" y="1031"/>
                  </a:lnTo>
                  <a:lnTo>
                    <a:pt x="160" y="1338"/>
                  </a:lnTo>
                  <a:lnTo>
                    <a:pt x="88" y="1338"/>
                  </a:lnTo>
                  <a:lnTo>
                    <a:pt x="88" y="10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endParaRPr lang="ru-RU"/>
            </a:p>
          </p:txBody>
        </p:sp>
        <p:sp>
          <p:nvSpPr>
            <p:cNvPr id="51" name="îṡḻïḍê">
              <a:extLst>
                <a:ext uri="{FF2B5EF4-FFF2-40B4-BE49-F238E27FC236}">
                  <a16:creationId xmlns="" xmlns:a16="http://schemas.microsoft.com/office/drawing/2014/main" id="{1E1F8511-5F97-4FF3-B89B-BC440295D481}"/>
                </a:ext>
              </a:extLst>
            </p:cNvPr>
            <p:cNvSpPr/>
            <p:nvPr/>
          </p:nvSpPr>
          <p:spPr bwMode="auto">
            <a:xfrm>
              <a:off x="2041526" y="3784600"/>
              <a:ext cx="844550" cy="2338388"/>
            </a:xfrm>
            <a:custGeom>
              <a:avLst/>
              <a:gdLst>
                <a:gd name="T0" fmla="*/ 0 w 532"/>
                <a:gd name="T1" fmla="*/ 384 h 1473"/>
                <a:gd name="T2" fmla="*/ 0 w 532"/>
                <a:gd name="T3" fmla="*/ 1473 h 1473"/>
                <a:gd name="T4" fmla="*/ 532 w 532"/>
                <a:gd name="T5" fmla="*/ 1473 h 1473"/>
                <a:gd name="T6" fmla="*/ 532 w 532"/>
                <a:gd name="T7" fmla="*/ 384 h 1473"/>
                <a:gd name="T8" fmla="*/ 465 w 532"/>
                <a:gd name="T9" fmla="*/ 384 h 1473"/>
                <a:gd name="T10" fmla="*/ 465 w 532"/>
                <a:gd name="T11" fmla="*/ 283 h 1473"/>
                <a:gd name="T12" fmla="*/ 388 w 532"/>
                <a:gd name="T13" fmla="*/ 283 h 1473"/>
                <a:gd name="T14" fmla="*/ 388 w 532"/>
                <a:gd name="T15" fmla="*/ 0 h 1473"/>
                <a:gd name="T16" fmla="*/ 143 w 532"/>
                <a:gd name="T17" fmla="*/ 0 h 1473"/>
                <a:gd name="T18" fmla="*/ 143 w 532"/>
                <a:gd name="T19" fmla="*/ 283 h 1473"/>
                <a:gd name="T20" fmla="*/ 67 w 532"/>
                <a:gd name="T21" fmla="*/ 283 h 1473"/>
                <a:gd name="T22" fmla="*/ 67 w 532"/>
                <a:gd name="T23" fmla="*/ 384 h 1473"/>
                <a:gd name="T24" fmla="*/ 0 w 532"/>
                <a:gd name="T25" fmla="*/ 384 h 1473"/>
                <a:gd name="T26" fmla="*/ 362 w 532"/>
                <a:gd name="T27" fmla="*/ 1029 h 1473"/>
                <a:gd name="T28" fmla="*/ 457 w 532"/>
                <a:gd name="T29" fmla="*/ 1029 h 1473"/>
                <a:gd name="T30" fmla="*/ 457 w 532"/>
                <a:gd name="T31" fmla="*/ 1137 h 1473"/>
                <a:gd name="T32" fmla="*/ 362 w 532"/>
                <a:gd name="T33" fmla="*/ 1137 h 1473"/>
                <a:gd name="T34" fmla="*/ 362 w 532"/>
                <a:gd name="T35" fmla="*/ 1029 h 1473"/>
                <a:gd name="T36" fmla="*/ 362 w 532"/>
                <a:gd name="T37" fmla="*/ 681 h 1473"/>
                <a:gd name="T38" fmla="*/ 457 w 532"/>
                <a:gd name="T39" fmla="*/ 681 h 1473"/>
                <a:gd name="T40" fmla="*/ 457 w 532"/>
                <a:gd name="T41" fmla="*/ 792 h 1473"/>
                <a:gd name="T42" fmla="*/ 362 w 532"/>
                <a:gd name="T43" fmla="*/ 792 h 1473"/>
                <a:gd name="T44" fmla="*/ 362 w 532"/>
                <a:gd name="T45" fmla="*/ 681 h 1473"/>
                <a:gd name="T46" fmla="*/ 362 w 532"/>
                <a:gd name="T47" fmla="*/ 509 h 1473"/>
                <a:gd name="T48" fmla="*/ 457 w 532"/>
                <a:gd name="T49" fmla="*/ 509 h 1473"/>
                <a:gd name="T50" fmla="*/ 457 w 532"/>
                <a:gd name="T51" fmla="*/ 619 h 1473"/>
                <a:gd name="T52" fmla="*/ 362 w 532"/>
                <a:gd name="T53" fmla="*/ 619 h 1473"/>
                <a:gd name="T54" fmla="*/ 362 w 532"/>
                <a:gd name="T55" fmla="*/ 509 h 1473"/>
                <a:gd name="T56" fmla="*/ 218 w 532"/>
                <a:gd name="T57" fmla="*/ 854 h 1473"/>
                <a:gd name="T58" fmla="*/ 314 w 532"/>
                <a:gd name="T59" fmla="*/ 854 h 1473"/>
                <a:gd name="T60" fmla="*/ 314 w 532"/>
                <a:gd name="T61" fmla="*/ 964 h 1473"/>
                <a:gd name="T62" fmla="*/ 218 w 532"/>
                <a:gd name="T63" fmla="*/ 964 h 1473"/>
                <a:gd name="T64" fmla="*/ 218 w 532"/>
                <a:gd name="T65" fmla="*/ 854 h 1473"/>
                <a:gd name="T66" fmla="*/ 218 w 532"/>
                <a:gd name="T67" fmla="*/ 681 h 1473"/>
                <a:gd name="T68" fmla="*/ 314 w 532"/>
                <a:gd name="T69" fmla="*/ 681 h 1473"/>
                <a:gd name="T70" fmla="*/ 314 w 532"/>
                <a:gd name="T71" fmla="*/ 792 h 1473"/>
                <a:gd name="T72" fmla="*/ 218 w 532"/>
                <a:gd name="T73" fmla="*/ 792 h 1473"/>
                <a:gd name="T74" fmla="*/ 218 w 532"/>
                <a:gd name="T75" fmla="*/ 681 h 1473"/>
                <a:gd name="T76" fmla="*/ 218 w 532"/>
                <a:gd name="T77" fmla="*/ 509 h 1473"/>
                <a:gd name="T78" fmla="*/ 314 w 532"/>
                <a:gd name="T79" fmla="*/ 509 h 1473"/>
                <a:gd name="T80" fmla="*/ 314 w 532"/>
                <a:gd name="T81" fmla="*/ 619 h 1473"/>
                <a:gd name="T82" fmla="*/ 218 w 532"/>
                <a:gd name="T83" fmla="*/ 619 h 1473"/>
                <a:gd name="T84" fmla="*/ 218 w 532"/>
                <a:gd name="T85" fmla="*/ 509 h 1473"/>
                <a:gd name="T86" fmla="*/ 74 w 532"/>
                <a:gd name="T87" fmla="*/ 1029 h 1473"/>
                <a:gd name="T88" fmla="*/ 170 w 532"/>
                <a:gd name="T89" fmla="*/ 1029 h 1473"/>
                <a:gd name="T90" fmla="*/ 170 w 532"/>
                <a:gd name="T91" fmla="*/ 1137 h 1473"/>
                <a:gd name="T92" fmla="*/ 74 w 532"/>
                <a:gd name="T93" fmla="*/ 1137 h 1473"/>
                <a:gd name="T94" fmla="*/ 74 w 532"/>
                <a:gd name="T95" fmla="*/ 1029 h 1473"/>
                <a:gd name="T96" fmla="*/ 74 w 532"/>
                <a:gd name="T97" fmla="*/ 854 h 1473"/>
                <a:gd name="T98" fmla="*/ 170 w 532"/>
                <a:gd name="T99" fmla="*/ 854 h 1473"/>
                <a:gd name="T100" fmla="*/ 170 w 532"/>
                <a:gd name="T101" fmla="*/ 964 h 1473"/>
                <a:gd name="T102" fmla="*/ 74 w 532"/>
                <a:gd name="T103" fmla="*/ 964 h 1473"/>
                <a:gd name="T104" fmla="*/ 74 w 532"/>
                <a:gd name="T105" fmla="*/ 854 h 1473"/>
                <a:gd name="T106" fmla="*/ 74 w 532"/>
                <a:gd name="T107" fmla="*/ 681 h 1473"/>
                <a:gd name="T108" fmla="*/ 170 w 532"/>
                <a:gd name="T109" fmla="*/ 681 h 1473"/>
                <a:gd name="T110" fmla="*/ 170 w 532"/>
                <a:gd name="T111" fmla="*/ 792 h 1473"/>
                <a:gd name="T112" fmla="*/ 74 w 532"/>
                <a:gd name="T113" fmla="*/ 792 h 1473"/>
                <a:gd name="T114" fmla="*/ 74 w 532"/>
                <a:gd name="T115" fmla="*/ 681 h 14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532" h="1473">
                  <a:moveTo>
                    <a:pt x="0" y="384"/>
                  </a:moveTo>
                  <a:lnTo>
                    <a:pt x="0" y="1473"/>
                  </a:lnTo>
                  <a:lnTo>
                    <a:pt x="532" y="1473"/>
                  </a:lnTo>
                  <a:lnTo>
                    <a:pt x="532" y="384"/>
                  </a:lnTo>
                  <a:lnTo>
                    <a:pt x="465" y="384"/>
                  </a:lnTo>
                  <a:lnTo>
                    <a:pt x="465" y="283"/>
                  </a:lnTo>
                  <a:lnTo>
                    <a:pt x="388" y="283"/>
                  </a:lnTo>
                  <a:lnTo>
                    <a:pt x="388" y="0"/>
                  </a:lnTo>
                  <a:lnTo>
                    <a:pt x="143" y="0"/>
                  </a:lnTo>
                  <a:lnTo>
                    <a:pt x="143" y="283"/>
                  </a:lnTo>
                  <a:lnTo>
                    <a:pt x="67" y="283"/>
                  </a:lnTo>
                  <a:lnTo>
                    <a:pt x="67" y="384"/>
                  </a:lnTo>
                  <a:lnTo>
                    <a:pt x="0" y="384"/>
                  </a:lnTo>
                  <a:close/>
                  <a:moveTo>
                    <a:pt x="362" y="1029"/>
                  </a:moveTo>
                  <a:lnTo>
                    <a:pt x="457" y="1029"/>
                  </a:lnTo>
                  <a:lnTo>
                    <a:pt x="457" y="1137"/>
                  </a:lnTo>
                  <a:lnTo>
                    <a:pt x="362" y="1137"/>
                  </a:lnTo>
                  <a:lnTo>
                    <a:pt x="362" y="1029"/>
                  </a:lnTo>
                  <a:close/>
                  <a:moveTo>
                    <a:pt x="362" y="681"/>
                  </a:moveTo>
                  <a:lnTo>
                    <a:pt x="457" y="681"/>
                  </a:lnTo>
                  <a:lnTo>
                    <a:pt x="457" y="792"/>
                  </a:lnTo>
                  <a:lnTo>
                    <a:pt x="362" y="792"/>
                  </a:lnTo>
                  <a:lnTo>
                    <a:pt x="362" y="681"/>
                  </a:lnTo>
                  <a:close/>
                  <a:moveTo>
                    <a:pt x="362" y="509"/>
                  </a:moveTo>
                  <a:lnTo>
                    <a:pt x="457" y="509"/>
                  </a:lnTo>
                  <a:lnTo>
                    <a:pt x="457" y="619"/>
                  </a:lnTo>
                  <a:lnTo>
                    <a:pt x="362" y="619"/>
                  </a:lnTo>
                  <a:lnTo>
                    <a:pt x="362" y="509"/>
                  </a:lnTo>
                  <a:close/>
                  <a:moveTo>
                    <a:pt x="218" y="854"/>
                  </a:moveTo>
                  <a:lnTo>
                    <a:pt x="314" y="854"/>
                  </a:lnTo>
                  <a:lnTo>
                    <a:pt x="314" y="964"/>
                  </a:lnTo>
                  <a:lnTo>
                    <a:pt x="218" y="964"/>
                  </a:lnTo>
                  <a:lnTo>
                    <a:pt x="218" y="854"/>
                  </a:lnTo>
                  <a:close/>
                  <a:moveTo>
                    <a:pt x="218" y="681"/>
                  </a:moveTo>
                  <a:lnTo>
                    <a:pt x="314" y="681"/>
                  </a:lnTo>
                  <a:lnTo>
                    <a:pt x="314" y="792"/>
                  </a:lnTo>
                  <a:lnTo>
                    <a:pt x="218" y="792"/>
                  </a:lnTo>
                  <a:lnTo>
                    <a:pt x="218" y="681"/>
                  </a:lnTo>
                  <a:close/>
                  <a:moveTo>
                    <a:pt x="218" y="509"/>
                  </a:moveTo>
                  <a:lnTo>
                    <a:pt x="314" y="509"/>
                  </a:lnTo>
                  <a:lnTo>
                    <a:pt x="314" y="619"/>
                  </a:lnTo>
                  <a:lnTo>
                    <a:pt x="218" y="619"/>
                  </a:lnTo>
                  <a:lnTo>
                    <a:pt x="218" y="509"/>
                  </a:lnTo>
                  <a:close/>
                  <a:moveTo>
                    <a:pt x="74" y="1029"/>
                  </a:moveTo>
                  <a:lnTo>
                    <a:pt x="170" y="1029"/>
                  </a:lnTo>
                  <a:lnTo>
                    <a:pt x="170" y="1137"/>
                  </a:lnTo>
                  <a:lnTo>
                    <a:pt x="74" y="1137"/>
                  </a:lnTo>
                  <a:lnTo>
                    <a:pt x="74" y="1029"/>
                  </a:lnTo>
                  <a:close/>
                  <a:moveTo>
                    <a:pt x="74" y="854"/>
                  </a:moveTo>
                  <a:lnTo>
                    <a:pt x="170" y="854"/>
                  </a:lnTo>
                  <a:lnTo>
                    <a:pt x="170" y="964"/>
                  </a:lnTo>
                  <a:lnTo>
                    <a:pt x="74" y="964"/>
                  </a:lnTo>
                  <a:lnTo>
                    <a:pt x="74" y="854"/>
                  </a:lnTo>
                  <a:close/>
                  <a:moveTo>
                    <a:pt x="74" y="681"/>
                  </a:moveTo>
                  <a:lnTo>
                    <a:pt x="170" y="681"/>
                  </a:lnTo>
                  <a:lnTo>
                    <a:pt x="170" y="792"/>
                  </a:lnTo>
                  <a:lnTo>
                    <a:pt x="74" y="792"/>
                  </a:lnTo>
                  <a:lnTo>
                    <a:pt x="74" y="68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endParaRPr lang="ru-RU"/>
            </a:p>
          </p:txBody>
        </p:sp>
        <p:sp>
          <p:nvSpPr>
            <p:cNvPr id="52" name="iṧlïḋe">
              <a:extLst>
                <a:ext uri="{FF2B5EF4-FFF2-40B4-BE49-F238E27FC236}">
                  <a16:creationId xmlns="" xmlns:a16="http://schemas.microsoft.com/office/drawing/2014/main" id="{E5C31136-9518-488D-A7BA-0E92E84E8BE9}"/>
                </a:ext>
              </a:extLst>
            </p:cNvPr>
            <p:cNvSpPr/>
            <p:nvPr/>
          </p:nvSpPr>
          <p:spPr bwMode="auto">
            <a:xfrm>
              <a:off x="4940301" y="3128963"/>
              <a:ext cx="846138" cy="2994025"/>
            </a:xfrm>
            <a:custGeom>
              <a:avLst/>
              <a:gdLst>
                <a:gd name="T0" fmla="*/ 0 w 533"/>
                <a:gd name="T1" fmla="*/ 1886 h 1886"/>
                <a:gd name="T2" fmla="*/ 533 w 533"/>
                <a:gd name="T3" fmla="*/ 92 h 1886"/>
                <a:gd name="T4" fmla="*/ 487 w 533"/>
                <a:gd name="T5" fmla="*/ 0 h 1886"/>
                <a:gd name="T6" fmla="*/ 202 w 533"/>
                <a:gd name="T7" fmla="*/ 92 h 1886"/>
                <a:gd name="T8" fmla="*/ 310 w 533"/>
                <a:gd name="T9" fmla="*/ 1466 h 1886"/>
                <a:gd name="T10" fmla="*/ 456 w 533"/>
                <a:gd name="T11" fmla="*/ 1517 h 1886"/>
                <a:gd name="T12" fmla="*/ 310 w 533"/>
                <a:gd name="T13" fmla="*/ 1466 h 1886"/>
                <a:gd name="T14" fmla="*/ 456 w 533"/>
                <a:gd name="T15" fmla="*/ 1346 h 1886"/>
                <a:gd name="T16" fmla="*/ 310 w 533"/>
                <a:gd name="T17" fmla="*/ 1397 h 1886"/>
                <a:gd name="T18" fmla="*/ 310 w 533"/>
                <a:gd name="T19" fmla="*/ 1226 h 1886"/>
                <a:gd name="T20" fmla="*/ 456 w 533"/>
                <a:gd name="T21" fmla="*/ 1277 h 1886"/>
                <a:gd name="T22" fmla="*/ 310 w 533"/>
                <a:gd name="T23" fmla="*/ 1226 h 1886"/>
                <a:gd name="T24" fmla="*/ 456 w 533"/>
                <a:gd name="T25" fmla="*/ 1106 h 1886"/>
                <a:gd name="T26" fmla="*/ 310 w 533"/>
                <a:gd name="T27" fmla="*/ 1157 h 1886"/>
                <a:gd name="T28" fmla="*/ 310 w 533"/>
                <a:gd name="T29" fmla="*/ 866 h 1886"/>
                <a:gd name="T30" fmla="*/ 456 w 533"/>
                <a:gd name="T31" fmla="*/ 917 h 1886"/>
                <a:gd name="T32" fmla="*/ 310 w 533"/>
                <a:gd name="T33" fmla="*/ 866 h 1886"/>
                <a:gd name="T34" fmla="*/ 456 w 533"/>
                <a:gd name="T35" fmla="*/ 747 h 1886"/>
                <a:gd name="T36" fmla="*/ 310 w 533"/>
                <a:gd name="T37" fmla="*/ 797 h 1886"/>
                <a:gd name="T38" fmla="*/ 310 w 533"/>
                <a:gd name="T39" fmla="*/ 627 h 1886"/>
                <a:gd name="T40" fmla="*/ 456 w 533"/>
                <a:gd name="T41" fmla="*/ 677 h 1886"/>
                <a:gd name="T42" fmla="*/ 310 w 533"/>
                <a:gd name="T43" fmla="*/ 627 h 1886"/>
                <a:gd name="T44" fmla="*/ 456 w 533"/>
                <a:gd name="T45" fmla="*/ 507 h 1886"/>
                <a:gd name="T46" fmla="*/ 310 w 533"/>
                <a:gd name="T47" fmla="*/ 557 h 1886"/>
                <a:gd name="T48" fmla="*/ 310 w 533"/>
                <a:gd name="T49" fmla="*/ 267 h 1886"/>
                <a:gd name="T50" fmla="*/ 456 w 533"/>
                <a:gd name="T51" fmla="*/ 317 h 1886"/>
                <a:gd name="T52" fmla="*/ 310 w 533"/>
                <a:gd name="T53" fmla="*/ 267 h 1886"/>
                <a:gd name="T54" fmla="*/ 223 w 533"/>
                <a:gd name="T55" fmla="*/ 1586 h 1886"/>
                <a:gd name="T56" fmla="*/ 77 w 533"/>
                <a:gd name="T57" fmla="*/ 1637 h 1886"/>
                <a:gd name="T58" fmla="*/ 77 w 533"/>
                <a:gd name="T59" fmla="*/ 1466 h 1886"/>
                <a:gd name="T60" fmla="*/ 223 w 533"/>
                <a:gd name="T61" fmla="*/ 1517 h 1886"/>
                <a:gd name="T62" fmla="*/ 77 w 533"/>
                <a:gd name="T63" fmla="*/ 1466 h 1886"/>
                <a:gd name="T64" fmla="*/ 223 w 533"/>
                <a:gd name="T65" fmla="*/ 1226 h 1886"/>
                <a:gd name="T66" fmla="*/ 77 w 533"/>
                <a:gd name="T67" fmla="*/ 1277 h 1886"/>
                <a:gd name="T68" fmla="*/ 77 w 533"/>
                <a:gd name="T69" fmla="*/ 986 h 1886"/>
                <a:gd name="T70" fmla="*/ 223 w 533"/>
                <a:gd name="T71" fmla="*/ 1037 h 1886"/>
                <a:gd name="T72" fmla="*/ 77 w 533"/>
                <a:gd name="T73" fmla="*/ 986 h 1886"/>
                <a:gd name="T74" fmla="*/ 223 w 533"/>
                <a:gd name="T75" fmla="*/ 866 h 1886"/>
                <a:gd name="T76" fmla="*/ 77 w 533"/>
                <a:gd name="T77" fmla="*/ 917 h 1886"/>
                <a:gd name="T78" fmla="*/ 77 w 533"/>
                <a:gd name="T79" fmla="*/ 627 h 1886"/>
                <a:gd name="T80" fmla="*/ 223 w 533"/>
                <a:gd name="T81" fmla="*/ 677 h 1886"/>
                <a:gd name="T82" fmla="*/ 77 w 533"/>
                <a:gd name="T83" fmla="*/ 627 h 1886"/>
                <a:gd name="T84" fmla="*/ 223 w 533"/>
                <a:gd name="T85" fmla="*/ 387 h 1886"/>
                <a:gd name="T86" fmla="*/ 77 w 533"/>
                <a:gd name="T87" fmla="*/ 437 h 1886"/>
                <a:gd name="T88" fmla="*/ 77 w 533"/>
                <a:gd name="T89" fmla="*/ 267 h 1886"/>
                <a:gd name="T90" fmla="*/ 223 w 533"/>
                <a:gd name="T91" fmla="*/ 317 h 1886"/>
                <a:gd name="T92" fmla="*/ 77 w 533"/>
                <a:gd name="T93" fmla="*/ 267 h 1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33" h="1886">
                  <a:moveTo>
                    <a:pt x="0" y="92"/>
                  </a:moveTo>
                  <a:lnTo>
                    <a:pt x="0" y="1886"/>
                  </a:lnTo>
                  <a:lnTo>
                    <a:pt x="533" y="1886"/>
                  </a:lnTo>
                  <a:lnTo>
                    <a:pt x="533" y="92"/>
                  </a:lnTo>
                  <a:lnTo>
                    <a:pt x="487" y="92"/>
                  </a:lnTo>
                  <a:lnTo>
                    <a:pt x="487" y="0"/>
                  </a:lnTo>
                  <a:lnTo>
                    <a:pt x="202" y="0"/>
                  </a:lnTo>
                  <a:lnTo>
                    <a:pt x="202" y="92"/>
                  </a:lnTo>
                  <a:lnTo>
                    <a:pt x="0" y="92"/>
                  </a:lnTo>
                  <a:close/>
                  <a:moveTo>
                    <a:pt x="310" y="1466"/>
                  </a:moveTo>
                  <a:lnTo>
                    <a:pt x="456" y="1466"/>
                  </a:lnTo>
                  <a:lnTo>
                    <a:pt x="456" y="1517"/>
                  </a:lnTo>
                  <a:lnTo>
                    <a:pt x="310" y="1517"/>
                  </a:lnTo>
                  <a:lnTo>
                    <a:pt x="310" y="1466"/>
                  </a:lnTo>
                  <a:close/>
                  <a:moveTo>
                    <a:pt x="310" y="1346"/>
                  </a:moveTo>
                  <a:lnTo>
                    <a:pt x="456" y="1346"/>
                  </a:lnTo>
                  <a:lnTo>
                    <a:pt x="456" y="1397"/>
                  </a:lnTo>
                  <a:lnTo>
                    <a:pt x="310" y="1397"/>
                  </a:lnTo>
                  <a:lnTo>
                    <a:pt x="310" y="1346"/>
                  </a:lnTo>
                  <a:close/>
                  <a:moveTo>
                    <a:pt x="310" y="1226"/>
                  </a:moveTo>
                  <a:lnTo>
                    <a:pt x="456" y="1226"/>
                  </a:lnTo>
                  <a:lnTo>
                    <a:pt x="456" y="1277"/>
                  </a:lnTo>
                  <a:lnTo>
                    <a:pt x="310" y="1277"/>
                  </a:lnTo>
                  <a:lnTo>
                    <a:pt x="310" y="1226"/>
                  </a:lnTo>
                  <a:close/>
                  <a:moveTo>
                    <a:pt x="310" y="1106"/>
                  </a:moveTo>
                  <a:lnTo>
                    <a:pt x="456" y="1106"/>
                  </a:lnTo>
                  <a:lnTo>
                    <a:pt x="456" y="1157"/>
                  </a:lnTo>
                  <a:lnTo>
                    <a:pt x="310" y="1157"/>
                  </a:lnTo>
                  <a:lnTo>
                    <a:pt x="310" y="1106"/>
                  </a:lnTo>
                  <a:close/>
                  <a:moveTo>
                    <a:pt x="310" y="866"/>
                  </a:moveTo>
                  <a:lnTo>
                    <a:pt x="456" y="866"/>
                  </a:lnTo>
                  <a:lnTo>
                    <a:pt x="456" y="917"/>
                  </a:lnTo>
                  <a:lnTo>
                    <a:pt x="310" y="917"/>
                  </a:lnTo>
                  <a:lnTo>
                    <a:pt x="310" y="866"/>
                  </a:lnTo>
                  <a:close/>
                  <a:moveTo>
                    <a:pt x="310" y="747"/>
                  </a:moveTo>
                  <a:lnTo>
                    <a:pt x="456" y="747"/>
                  </a:lnTo>
                  <a:lnTo>
                    <a:pt x="456" y="797"/>
                  </a:lnTo>
                  <a:lnTo>
                    <a:pt x="310" y="797"/>
                  </a:lnTo>
                  <a:lnTo>
                    <a:pt x="310" y="747"/>
                  </a:lnTo>
                  <a:close/>
                  <a:moveTo>
                    <a:pt x="310" y="627"/>
                  </a:moveTo>
                  <a:lnTo>
                    <a:pt x="456" y="627"/>
                  </a:lnTo>
                  <a:lnTo>
                    <a:pt x="456" y="677"/>
                  </a:lnTo>
                  <a:lnTo>
                    <a:pt x="310" y="677"/>
                  </a:lnTo>
                  <a:lnTo>
                    <a:pt x="310" y="627"/>
                  </a:lnTo>
                  <a:close/>
                  <a:moveTo>
                    <a:pt x="310" y="507"/>
                  </a:moveTo>
                  <a:lnTo>
                    <a:pt x="456" y="507"/>
                  </a:lnTo>
                  <a:lnTo>
                    <a:pt x="456" y="557"/>
                  </a:lnTo>
                  <a:lnTo>
                    <a:pt x="310" y="557"/>
                  </a:lnTo>
                  <a:lnTo>
                    <a:pt x="310" y="507"/>
                  </a:lnTo>
                  <a:close/>
                  <a:moveTo>
                    <a:pt x="310" y="267"/>
                  </a:moveTo>
                  <a:lnTo>
                    <a:pt x="456" y="267"/>
                  </a:lnTo>
                  <a:lnTo>
                    <a:pt x="456" y="317"/>
                  </a:lnTo>
                  <a:lnTo>
                    <a:pt x="310" y="317"/>
                  </a:lnTo>
                  <a:lnTo>
                    <a:pt x="310" y="267"/>
                  </a:lnTo>
                  <a:close/>
                  <a:moveTo>
                    <a:pt x="77" y="1586"/>
                  </a:moveTo>
                  <a:lnTo>
                    <a:pt x="223" y="1586"/>
                  </a:lnTo>
                  <a:lnTo>
                    <a:pt x="223" y="1637"/>
                  </a:lnTo>
                  <a:lnTo>
                    <a:pt x="77" y="1637"/>
                  </a:lnTo>
                  <a:lnTo>
                    <a:pt x="77" y="1586"/>
                  </a:lnTo>
                  <a:close/>
                  <a:moveTo>
                    <a:pt x="77" y="1466"/>
                  </a:moveTo>
                  <a:lnTo>
                    <a:pt x="223" y="1466"/>
                  </a:lnTo>
                  <a:lnTo>
                    <a:pt x="223" y="1517"/>
                  </a:lnTo>
                  <a:lnTo>
                    <a:pt x="77" y="1517"/>
                  </a:lnTo>
                  <a:lnTo>
                    <a:pt x="77" y="1466"/>
                  </a:lnTo>
                  <a:close/>
                  <a:moveTo>
                    <a:pt x="77" y="1226"/>
                  </a:moveTo>
                  <a:lnTo>
                    <a:pt x="223" y="1226"/>
                  </a:lnTo>
                  <a:lnTo>
                    <a:pt x="223" y="1277"/>
                  </a:lnTo>
                  <a:lnTo>
                    <a:pt x="77" y="1277"/>
                  </a:lnTo>
                  <a:lnTo>
                    <a:pt x="77" y="1226"/>
                  </a:lnTo>
                  <a:close/>
                  <a:moveTo>
                    <a:pt x="77" y="986"/>
                  </a:moveTo>
                  <a:lnTo>
                    <a:pt x="223" y="986"/>
                  </a:lnTo>
                  <a:lnTo>
                    <a:pt x="223" y="1037"/>
                  </a:lnTo>
                  <a:lnTo>
                    <a:pt x="77" y="1037"/>
                  </a:lnTo>
                  <a:lnTo>
                    <a:pt x="77" y="986"/>
                  </a:lnTo>
                  <a:close/>
                  <a:moveTo>
                    <a:pt x="77" y="866"/>
                  </a:moveTo>
                  <a:lnTo>
                    <a:pt x="223" y="866"/>
                  </a:lnTo>
                  <a:lnTo>
                    <a:pt x="223" y="917"/>
                  </a:lnTo>
                  <a:lnTo>
                    <a:pt x="77" y="917"/>
                  </a:lnTo>
                  <a:lnTo>
                    <a:pt x="77" y="866"/>
                  </a:lnTo>
                  <a:close/>
                  <a:moveTo>
                    <a:pt x="77" y="627"/>
                  </a:moveTo>
                  <a:lnTo>
                    <a:pt x="223" y="627"/>
                  </a:lnTo>
                  <a:lnTo>
                    <a:pt x="223" y="677"/>
                  </a:lnTo>
                  <a:lnTo>
                    <a:pt x="77" y="677"/>
                  </a:lnTo>
                  <a:lnTo>
                    <a:pt x="77" y="627"/>
                  </a:lnTo>
                  <a:close/>
                  <a:moveTo>
                    <a:pt x="77" y="387"/>
                  </a:moveTo>
                  <a:lnTo>
                    <a:pt x="223" y="387"/>
                  </a:lnTo>
                  <a:lnTo>
                    <a:pt x="223" y="437"/>
                  </a:lnTo>
                  <a:lnTo>
                    <a:pt x="77" y="437"/>
                  </a:lnTo>
                  <a:lnTo>
                    <a:pt x="77" y="387"/>
                  </a:lnTo>
                  <a:close/>
                  <a:moveTo>
                    <a:pt x="77" y="267"/>
                  </a:moveTo>
                  <a:lnTo>
                    <a:pt x="223" y="267"/>
                  </a:lnTo>
                  <a:lnTo>
                    <a:pt x="223" y="317"/>
                  </a:lnTo>
                  <a:lnTo>
                    <a:pt x="77" y="317"/>
                  </a:lnTo>
                  <a:lnTo>
                    <a:pt x="77" y="26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endParaRPr lang="ru-RU"/>
            </a:p>
          </p:txBody>
        </p:sp>
        <p:sp>
          <p:nvSpPr>
            <p:cNvPr id="53" name="íS1ïďe">
              <a:extLst>
                <a:ext uri="{FF2B5EF4-FFF2-40B4-BE49-F238E27FC236}">
                  <a16:creationId xmlns="" xmlns:a16="http://schemas.microsoft.com/office/drawing/2014/main" id="{F9ECF5B2-A10D-4961-AAA2-4270EBBF1233}"/>
                </a:ext>
              </a:extLst>
            </p:cNvPr>
            <p:cNvSpPr/>
            <p:nvPr/>
          </p:nvSpPr>
          <p:spPr bwMode="auto">
            <a:xfrm>
              <a:off x="3973513" y="3460750"/>
              <a:ext cx="846138" cy="2662238"/>
            </a:xfrm>
            <a:custGeom>
              <a:avLst/>
              <a:gdLst>
                <a:gd name="T0" fmla="*/ 0 w 533"/>
                <a:gd name="T1" fmla="*/ 1677 h 1677"/>
                <a:gd name="T2" fmla="*/ 533 w 533"/>
                <a:gd name="T3" fmla="*/ 204 h 1677"/>
                <a:gd name="T4" fmla="*/ 437 w 533"/>
                <a:gd name="T5" fmla="*/ 0 h 1677"/>
                <a:gd name="T6" fmla="*/ 329 w 533"/>
                <a:gd name="T7" fmla="*/ 204 h 1677"/>
                <a:gd name="T8" fmla="*/ 401 w 533"/>
                <a:gd name="T9" fmla="*/ 1252 h 1677"/>
                <a:gd name="T10" fmla="*/ 473 w 533"/>
                <a:gd name="T11" fmla="*/ 1324 h 1677"/>
                <a:gd name="T12" fmla="*/ 401 w 533"/>
                <a:gd name="T13" fmla="*/ 1252 h 1677"/>
                <a:gd name="T14" fmla="*/ 473 w 533"/>
                <a:gd name="T15" fmla="*/ 1104 h 1677"/>
                <a:gd name="T16" fmla="*/ 401 w 533"/>
                <a:gd name="T17" fmla="*/ 1176 h 1677"/>
                <a:gd name="T18" fmla="*/ 401 w 533"/>
                <a:gd name="T19" fmla="*/ 957 h 1677"/>
                <a:gd name="T20" fmla="*/ 473 w 533"/>
                <a:gd name="T21" fmla="*/ 1029 h 1677"/>
                <a:gd name="T22" fmla="*/ 401 w 533"/>
                <a:gd name="T23" fmla="*/ 957 h 1677"/>
                <a:gd name="T24" fmla="*/ 473 w 533"/>
                <a:gd name="T25" fmla="*/ 811 h 1677"/>
                <a:gd name="T26" fmla="*/ 401 w 533"/>
                <a:gd name="T27" fmla="*/ 883 h 1677"/>
                <a:gd name="T28" fmla="*/ 401 w 533"/>
                <a:gd name="T29" fmla="*/ 662 h 1677"/>
                <a:gd name="T30" fmla="*/ 473 w 533"/>
                <a:gd name="T31" fmla="*/ 734 h 1677"/>
                <a:gd name="T32" fmla="*/ 401 w 533"/>
                <a:gd name="T33" fmla="*/ 662 h 1677"/>
                <a:gd name="T34" fmla="*/ 473 w 533"/>
                <a:gd name="T35" fmla="*/ 516 h 1677"/>
                <a:gd name="T36" fmla="*/ 401 w 533"/>
                <a:gd name="T37" fmla="*/ 588 h 1677"/>
                <a:gd name="T38" fmla="*/ 288 w 533"/>
                <a:gd name="T39" fmla="*/ 1104 h 1677"/>
                <a:gd name="T40" fmla="*/ 360 w 533"/>
                <a:gd name="T41" fmla="*/ 1176 h 1677"/>
                <a:gd name="T42" fmla="*/ 288 w 533"/>
                <a:gd name="T43" fmla="*/ 1104 h 1677"/>
                <a:gd name="T44" fmla="*/ 360 w 533"/>
                <a:gd name="T45" fmla="*/ 957 h 1677"/>
                <a:gd name="T46" fmla="*/ 288 w 533"/>
                <a:gd name="T47" fmla="*/ 1029 h 1677"/>
                <a:gd name="T48" fmla="*/ 288 w 533"/>
                <a:gd name="T49" fmla="*/ 662 h 1677"/>
                <a:gd name="T50" fmla="*/ 360 w 533"/>
                <a:gd name="T51" fmla="*/ 734 h 1677"/>
                <a:gd name="T52" fmla="*/ 288 w 533"/>
                <a:gd name="T53" fmla="*/ 662 h 1677"/>
                <a:gd name="T54" fmla="*/ 360 w 533"/>
                <a:gd name="T55" fmla="*/ 516 h 1677"/>
                <a:gd name="T56" fmla="*/ 288 w 533"/>
                <a:gd name="T57" fmla="*/ 588 h 1677"/>
                <a:gd name="T58" fmla="*/ 288 w 533"/>
                <a:gd name="T59" fmla="*/ 370 h 1677"/>
                <a:gd name="T60" fmla="*/ 360 w 533"/>
                <a:gd name="T61" fmla="*/ 442 h 1677"/>
                <a:gd name="T62" fmla="*/ 288 w 533"/>
                <a:gd name="T63" fmla="*/ 370 h 1677"/>
                <a:gd name="T64" fmla="*/ 245 w 533"/>
                <a:gd name="T65" fmla="*/ 1252 h 1677"/>
                <a:gd name="T66" fmla="*/ 173 w 533"/>
                <a:gd name="T67" fmla="*/ 1324 h 1677"/>
                <a:gd name="T68" fmla="*/ 173 w 533"/>
                <a:gd name="T69" fmla="*/ 1104 h 1677"/>
                <a:gd name="T70" fmla="*/ 245 w 533"/>
                <a:gd name="T71" fmla="*/ 1176 h 1677"/>
                <a:gd name="T72" fmla="*/ 173 w 533"/>
                <a:gd name="T73" fmla="*/ 1104 h 1677"/>
                <a:gd name="T74" fmla="*/ 245 w 533"/>
                <a:gd name="T75" fmla="*/ 811 h 1677"/>
                <a:gd name="T76" fmla="*/ 173 w 533"/>
                <a:gd name="T77" fmla="*/ 883 h 1677"/>
                <a:gd name="T78" fmla="*/ 173 w 533"/>
                <a:gd name="T79" fmla="*/ 662 h 1677"/>
                <a:gd name="T80" fmla="*/ 245 w 533"/>
                <a:gd name="T81" fmla="*/ 734 h 1677"/>
                <a:gd name="T82" fmla="*/ 173 w 533"/>
                <a:gd name="T83" fmla="*/ 662 h 1677"/>
                <a:gd name="T84" fmla="*/ 245 w 533"/>
                <a:gd name="T85" fmla="*/ 516 h 1677"/>
                <a:gd name="T86" fmla="*/ 173 w 533"/>
                <a:gd name="T87" fmla="*/ 588 h 1677"/>
                <a:gd name="T88" fmla="*/ 173 w 533"/>
                <a:gd name="T89" fmla="*/ 370 h 1677"/>
                <a:gd name="T90" fmla="*/ 245 w 533"/>
                <a:gd name="T91" fmla="*/ 442 h 1677"/>
                <a:gd name="T92" fmla="*/ 173 w 533"/>
                <a:gd name="T93" fmla="*/ 370 h 1677"/>
                <a:gd name="T94" fmla="*/ 132 w 533"/>
                <a:gd name="T95" fmla="*/ 1252 h 1677"/>
                <a:gd name="T96" fmla="*/ 60 w 533"/>
                <a:gd name="T97" fmla="*/ 1324 h 1677"/>
                <a:gd name="T98" fmla="*/ 60 w 533"/>
                <a:gd name="T99" fmla="*/ 1104 h 1677"/>
                <a:gd name="T100" fmla="*/ 132 w 533"/>
                <a:gd name="T101" fmla="*/ 1176 h 1677"/>
                <a:gd name="T102" fmla="*/ 60 w 533"/>
                <a:gd name="T103" fmla="*/ 1104 h 1677"/>
                <a:gd name="T104" fmla="*/ 132 w 533"/>
                <a:gd name="T105" fmla="*/ 957 h 1677"/>
                <a:gd name="T106" fmla="*/ 60 w 533"/>
                <a:gd name="T107" fmla="*/ 1029 h 1677"/>
                <a:gd name="T108" fmla="*/ 60 w 533"/>
                <a:gd name="T109" fmla="*/ 811 h 1677"/>
                <a:gd name="T110" fmla="*/ 132 w 533"/>
                <a:gd name="T111" fmla="*/ 883 h 1677"/>
                <a:gd name="T112" fmla="*/ 60 w 533"/>
                <a:gd name="T113" fmla="*/ 811 h 1677"/>
                <a:gd name="T114" fmla="*/ 132 w 533"/>
                <a:gd name="T115" fmla="*/ 516 h 1677"/>
                <a:gd name="T116" fmla="*/ 60 w 533"/>
                <a:gd name="T117" fmla="*/ 588 h 16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533" h="1677">
                  <a:moveTo>
                    <a:pt x="0" y="204"/>
                  </a:moveTo>
                  <a:lnTo>
                    <a:pt x="0" y="1677"/>
                  </a:lnTo>
                  <a:lnTo>
                    <a:pt x="533" y="1677"/>
                  </a:lnTo>
                  <a:lnTo>
                    <a:pt x="533" y="204"/>
                  </a:lnTo>
                  <a:lnTo>
                    <a:pt x="437" y="204"/>
                  </a:lnTo>
                  <a:lnTo>
                    <a:pt x="437" y="0"/>
                  </a:lnTo>
                  <a:lnTo>
                    <a:pt x="329" y="0"/>
                  </a:lnTo>
                  <a:lnTo>
                    <a:pt x="329" y="204"/>
                  </a:lnTo>
                  <a:lnTo>
                    <a:pt x="0" y="204"/>
                  </a:lnTo>
                  <a:close/>
                  <a:moveTo>
                    <a:pt x="401" y="1252"/>
                  </a:moveTo>
                  <a:lnTo>
                    <a:pt x="473" y="1252"/>
                  </a:lnTo>
                  <a:lnTo>
                    <a:pt x="473" y="1324"/>
                  </a:lnTo>
                  <a:lnTo>
                    <a:pt x="401" y="1324"/>
                  </a:lnTo>
                  <a:lnTo>
                    <a:pt x="401" y="1252"/>
                  </a:lnTo>
                  <a:close/>
                  <a:moveTo>
                    <a:pt x="401" y="1104"/>
                  </a:moveTo>
                  <a:lnTo>
                    <a:pt x="473" y="1104"/>
                  </a:lnTo>
                  <a:lnTo>
                    <a:pt x="473" y="1176"/>
                  </a:lnTo>
                  <a:lnTo>
                    <a:pt x="401" y="1176"/>
                  </a:lnTo>
                  <a:lnTo>
                    <a:pt x="401" y="1104"/>
                  </a:lnTo>
                  <a:close/>
                  <a:moveTo>
                    <a:pt x="401" y="957"/>
                  </a:moveTo>
                  <a:lnTo>
                    <a:pt x="473" y="957"/>
                  </a:lnTo>
                  <a:lnTo>
                    <a:pt x="473" y="1029"/>
                  </a:lnTo>
                  <a:lnTo>
                    <a:pt x="401" y="1029"/>
                  </a:lnTo>
                  <a:lnTo>
                    <a:pt x="401" y="957"/>
                  </a:lnTo>
                  <a:close/>
                  <a:moveTo>
                    <a:pt x="401" y="811"/>
                  </a:moveTo>
                  <a:lnTo>
                    <a:pt x="473" y="811"/>
                  </a:lnTo>
                  <a:lnTo>
                    <a:pt x="473" y="883"/>
                  </a:lnTo>
                  <a:lnTo>
                    <a:pt x="401" y="883"/>
                  </a:lnTo>
                  <a:lnTo>
                    <a:pt x="401" y="811"/>
                  </a:lnTo>
                  <a:close/>
                  <a:moveTo>
                    <a:pt x="401" y="662"/>
                  </a:moveTo>
                  <a:lnTo>
                    <a:pt x="473" y="662"/>
                  </a:lnTo>
                  <a:lnTo>
                    <a:pt x="473" y="734"/>
                  </a:lnTo>
                  <a:lnTo>
                    <a:pt x="401" y="734"/>
                  </a:lnTo>
                  <a:lnTo>
                    <a:pt x="401" y="662"/>
                  </a:lnTo>
                  <a:close/>
                  <a:moveTo>
                    <a:pt x="401" y="516"/>
                  </a:moveTo>
                  <a:lnTo>
                    <a:pt x="473" y="516"/>
                  </a:lnTo>
                  <a:lnTo>
                    <a:pt x="473" y="588"/>
                  </a:lnTo>
                  <a:lnTo>
                    <a:pt x="401" y="588"/>
                  </a:lnTo>
                  <a:lnTo>
                    <a:pt x="401" y="516"/>
                  </a:lnTo>
                  <a:close/>
                  <a:moveTo>
                    <a:pt x="288" y="1104"/>
                  </a:moveTo>
                  <a:lnTo>
                    <a:pt x="360" y="1104"/>
                  </a:lnTo>
                  <a:lnTo>
                    <a:pt x="360" y="1176"/>
                  </a:lnTo>
                  <a:lnTo>
                    <a:pt x="288" y="1176"/>
                  </a:lnTo>
                  <a:lnTo>
                    <a:pt x="288" y="1104"/>
                  </a:lnTo>
                  <a:close/>
                  <a:moveTo>
                    <a:pt x="288" y="957"/>
                  </a:moveTo>
                  <a:lnTo>
                    <a:pt x="360" y="957"/>
                  </a:lnTo>
                  <a:lnTo>
                    <a:pt x="360" y="1029"/>
                  </a:lnTo>
                  <a:lnTo>
                    <a:pt x="288" y="1029"/>
                  </a:lnTo>
                  <a:lnTo>
                    <a:pt x="288" y="957"/>
                  </a:lnTo>
                  <a:close/>
                  <a:moveTo>
                    <a:pt x="288" y="662"/>
                  </a:moveTo>
                  <a:lnTo>
                    <a:pt x="360" y="662"/>
                  </a:lnTo>
                  <a:lnTo>
                    <a:pt x="360" y="734"/>
                  </a:lnTo>
                  <a:lnTo>
                    <a:pt x="288" y="734"/>
                  </a:lnTo>
                  <a:lnTo>
                    <a:pt x="288" y="662"/>
                  </a:lnTo>
                  <a:close/>
                  <a:moveTo>
                    <a:pt x="288" y="516"/>
                  </a:moveTo>
                  <a:lnTo>
                    <a:pt x="360" y="516"/>
                  </a:lnTo>
                  <a:lnTo>
                    <a:pt x="360" y="588"/>
                  </a:lnTo>
                  <a:lnTo>
                    <a:pt x="288" y="588"/>
                  </a:lnTo>
                  <a:lnTo>
                    <a:pt x="288" y="516"/>
                  </a:lnTo>
                  <a:close/>
                  <a:moveTo>
                    <a:pt x="288" y="370"/>
                  </a:moveTo>
                  <a:lnTo>
                    <a:pt x="360" y="370"/>
                  </a:lnTo>
                  <a:lnTo>
                    <a:pt x="360" y="442"/>
                  </a:lnTo>
                  <a:lnTo>
                    <a:pt x="288" y="442"/>
                  </a:lnTo>
                  <a:lnTo>
                    <a:pt x="288" y="370"/>
                  </a:lnTo>
                  <a:close/>
                  <a:moveTo>
                    <a:pt x="173" y="1252"/>
                  </a:moveTo>
                  <a:lnTo>
                    <a:pt x="245" y="1252"/>
                  </a:lnTo>
                  <a:lnTo>
                    <a:pt x="245" y="1324"/>
                  </a:lnTo>
                  <a:lnTo>
                    <a:pt x="173" y="1324"/>
                  </a:lnTo>
                  <a:lnTo>
                    <a:pt x="173" y="1252"/>
                  </a:lnTo>
                  <a:close/>
                  <a:moveTo>
                    <a:pt x="173" y="1104"/>
                  </a:moveTo>
                  <a:lnTo>
                    <a:pt x="245" y="1104"/>
                  </a:lnTo>
                  <a:lnTo>
                    <a:pt x="245" y="1176"/>
                  </a:lnTo>
                  <a:lnTo>
                    <a:pt x="173" y="1176"/>
                  </a:lnTo>
                  <a:lnTo>
                    <a:pt x="173" y="1104"/>
                  </a:lnTo>
                  <a:close/>
                  <a:moveTo>
                    <a:pt x="173" y="811"/>
                  </a:moveTo>
                  <a:lnTo>
                    <a:pt x="245" y="811"/>
                  </a:lnTo>
                  <a:lnTo>
                    <a:pt x="245" y="883"/>
                  </a:lnTo>
                  <a:lnTo>
                    <a:pt x="173" y="883"/>
                  </a:lnTo>
                  <a:lnTo>
                    <a:pt x="173" y="811"/>
                  </a:lnTo>
                  <a:close/>
                  <a:moveTo>
                    <a:pt x="173" y="662"/>
                  </a:moveTo>
                  <a:lnTo>
                    <a:pt x="245" y="662"/>
                  </a:lnTo>
                  <a:lnTo>
                    <a:pt x="245" y="734"/>
                  </a:lnTo>
                  <a:lnTo>
                    <a:pt x="173" y="734"/>
                  </a:lnTo>
                  <a:lnTo>
                    <a:pt x="173" y="662"/>
                  </a:lnTo>
                  <a:close/>
                  <a:moveTo>
                    <a:pt x="173" y="516"/>
                  </a:moveTo>
                  <a:lnTo>
                    <a:pt x="245" y="516"/>
                  </a:lnTo>
                  <a:lnTo>
                    <a:pt x="245" y="588"/>
                  </a:lnTo>
                  <a:lnTo>
                    <a:pt x="173" y="588"/>
                  </a:lnTo>
                  <a:lnTo>
                    <a:pt x="173" y="516"/>
                  </a:lnTo>
                  <a:close/>
                  <a:moveTo>
                    <a:pt x="173" y="370"/>
                  </a:moveTo>
                  <a:lnTo>
                    <a:pt x="245" y="370"/>
                  </a:lnTo>
                  <a:lnTo>
                    <a:pt x="245" y="442"/>
                  </a:lnTo>
                  <a:lnTo>
                    <a:pt x="173" y="442"/>
                  </a:lnTo>
                  <a:lnTo>
                    <a:pt x="173" y="370"/>
                  </a:lnTo>
                  <a:close/>
                  <a:moveTo>
                    <a:pt x="60" y="1252"/>
                  </a:moveTo>
                  <a:lnTo>
                    <a:pt x="132" y="1252"/>
                  </a:lnTo>
                  <a:lnTo>
                    <a:pt x="132" y="1324"/>
                  </a:lnTo>
                  <a:lnTo>
                    <a:pt x="60" y="1324"/>
                  </a:lnTo>
                  <a:lnTo>
                    <a:pt x="60" y="1252"/>
                  </a:lnTo>
                  <a:close/>
                  <a:moveTo>
                    <a:pt x="60" y="1104"/>
                  </a:moveTo>
                  <a:lnTo>
                    <a:pt x="132" y="1104"/>
                  </a:lnTo>
                  <a:lnTo>
                    <a:pt x="132" y="1176"/>
                  </a:lnTo>
                  <a:lnTo>
                    <a:pt x="60" y="1176"/>
                  </a:lnTo>
                  <a:lnTo>
                    <a:pt x="60" y="1104"/>
                  </a:lnTo>
                  <a:close/>
                  <a:moveTo>
                    <a:pt x="60" y="957"/>
                  </a:moveTo>
                  <a:lnTo>
                    <a:pt x="132" y="957"/>
                  </a:lnTo>
                  <a:lnTo>
                    <a:pt x="132" y="1029"/>
                  </a:lnTo>
                  <a:lnTo>
                    <a:pt x="60" y="1029"/>
                  </a:lnTo>
                  <a:lnTo>
                    <a:pt x="60" y="957"/>
                  </a:lnTo>
                  <a:close/>
                  <a:moveTo>
                    <a:pt x="60" y="811"/>
                  </a:moveTo>
                  <a:lnTo>
                    <a:pt x="132" y="811"/>
                  </a:lnTo>
                  <a:lnTo>
                    <a:pt x="132" y="883"/>
                  </a:lnTo>
                  <a:lnTo>
                    <a:pt x="60" y="883"/>
                  </a:lnTo>
                  <a:lnTo>
                    <a:pt x="60" y="811"/>
                  </a:lnTo>
                  <a:close/>
                  <a:moveTo>
                    <a:pt x="60" y="516"/>
                  </a:moveTo>
                  <a:lnTo>
                    <a:pt x="132" y="516"/>
                  </a:lnTo>
                  <a:lnTo>
                    <a:pt x="132" y="588"/>
                  </a:lnTo>
                  <a:lnTo>
                    <a:pt x="60" y="588"/>
                  </a:lnTo>
                  <a:lnTo>
                    <a:pt x="60" y="5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endParaRPr lang="ru-RU"/>
            </a:p>
          </p:txBody>
        </p:sp>
        <p:sp>
          <p:nvSpPr>
            <p:cNvPr id="54" name="í$ḷiďe">
              <a:extLst>
                <a:ext uri="{FF2B5EF4-FFF2-40B4-BE49-F238E27FC236}">
                  <a16:creationId xmlns="" xmlns:a16="http://schemas.microsoft.com/office/drawing/2014/main" id="{6F45AAA7-2AAC-419E-AE51-24E6A20854EA}"/>
                </a:ext>
              </a:extLst>
            </p:cNvPr>
            <p:cNvSpPr/>
            <p:nvPr/>
          </p:nvSpPr>
          <p:spPr bwMode="auto">
            <a:xfrm>
              <a:off x="5907088" y="4092575"/>
              <a:ext cx="846138" cy="2030413"/>
            </a:xfrm>
            <a:custGeom>
              <a:avLst/>
              <a:gdLst>
                <a:gd name="T0" fmla="*/ 0 w 533"/>
                <a:gd name="T1" fmla="*/ 224 h 1279"/>
                <a:gd name="T2" fmla="*/ 0 w 533"/>
                <a:gd name="T3" fmla="*/ 1279 h 1279"/>
                <a:gd name="T4" fmla="*/ 533 w 533"/>
                <a:gd name="T5" fmla="*/ 1279 h 1279"/>
                <a:gd name="T6" fmla="*/ 533 w 533"/>
                <a:gd name="T7" fmla="*/ 224 h 1279"/>
                <a:gd name="T8" fmla="*/ 451 w 533"/>
                <a:gd name="T9" fmla="*/ 224 h 1279"/>
                <a:gd name="T10" fmla="*/ 451 w 533"/>
                <a:gd name="T11" fmla="*/ 116 h 1279"/>
                <a:gd name="T12" fmla="*/ 82 w 533"/>
                <a:gd name="T13" fmla="*/ 0 h 1279"/>
                <a:gd name="T14" fmla="*/ 82 w 533"/>
                <a:gd name="T15" fmla="*/ 224 h 1279"/>
                <a:gd name="T16" fmla="*/ 0 w 533"/>
                <a:gd name="T17" fmla="*/ 224 h 1279"/>
                <a:gd name="T18" fmla="*/ 324 w 533"/>
                <a:gd name="T19" fmla="*/ 792 h 1279"/>
                <a:gd name="T20" fmla="*/ 432 w 533"/>
                <a:gd name="T21" fmla="*/ 792 h 1279"/>
                <a:gd name="T22" fmla="*/ 432 w 533"/>
                <a:gd name="T23" fmla="*/ 900 h 1279"/>
                <a:gd name="T24" fmla="*/ 324 w 533"/>
                <a:gd name="T25" fmla="*/ 900 h 1279"/>
                <a:gd name="T26" fmla="*/ 324 w 533"/>
                <a:gd name="T27" fmla="*/ 792 h 1279"/>
                <a:gd name="T28" fmla="*/ 324 w 533"/>
                <a:gd name="T29" fmla="*/ 574 h 1279"/>
                <a:gd name="T30" fmla="*/ 432 w 533"/>
                <a:gd name="T31" fmla="*/ 574 h 1279"/>
                <a:gd name="T32" fmla="*/ 432 w 533"/>
                <a:gd name="T33" fmla="*/ 682 h 1279"/>
                <a:gd name="T34" fmla="*/ 324 w 533"/>
                <a:gd name="T35" fmla="*/ 682 h 1279"/>
                <a:gd name="T36" fmla="*/ 324 w 533"/>
                <a:gd name="T37" fmla="*/ 574 h 1279"/>
                <a:gd name="T38" fmla="*/ 324 w 533"/>
                <a:gd name="T39" fmla="*/ 355 h 1279"/>
                <a:gd name="T40" fmla="*/ 432 w 533"/>
                <a:gd name="T41" fmla="*/ 355 h 1279"/>
                <a:gd name="T42" fmla="*/ 432 w 533"/>
                <a:gd name="T43" fmla="*/ 463 h 1279"/>
                <a:gd name="T44" fmla="*/ 324 w 533"/>
                <a:gd name="T45" fmla="*/ 463 h 1279"/>
                <a:gd name="T46" fmla="*/ 324 w 533"/>
                <a:gd name="T47" fmla="*/ 355 h 1279"/>
                <a:gd name="T48" fmla="*/ 101 w 533"/>
                <a:gd name="T49" fmla="*/ 792 h 1279"/>
                <a:gd name="T50" fmla="*/ 209 w 533"/>
                <a:gd name="T51" fmla="*/ 792 h 1279"/>
                <a:gd name="T52" fmla="*/ 209 w 533"/>
                <a:gd name="T53" fmla="*/ 900 h 1279"/>
                <a:gd name="T54" fmla="*/ 101 w 533"/>
                <a:gd name="T55" fmla="*/ 900 h 1279"/>
                <a:gd name="T56" fmla="*/ 101 w 533"/>
                <a:gd name="T57" fmla="*/ 792 h 1279"/>
                <a:gd name="T58" fmla="*/ 101 w 533"/>
                <a:gd name="T59" fmla="*/ 574 h 1279"/>
                <a:gd name="T60" fmla="*/ 209 w 533"/>
                <a:gd name="T61" fmla="*/ 574 h 1279"/>
                <a:gd name="T62" fmla="*/ 209 w 533"/>
                <a:gd name="T63" fmla="*/ 682 h 1279"/>
                <a:gd name="T64" fmla="*/ 101 w 533"/>
                <a:gd name="T65" fmla="*/ 682 h 1279"/>
                <a:gd name="T66" fmla="*/ 101 w 533"/>
                <a:gd name="T67" fmla="*/ 574 h 1279"/>
                <a:gd name="T68" fmla="*/ 101 w 533"/>
                <a:gd name="T69" fmla="*/ 355 h 1279"/>
                <a:gd name="T70" fmla="*/ 209 w 533"/>
                <a:gd name="T71" fmla="*/ 355 h 1279"/>
                <a:gd name="T72" fmla="*/ 209 w 533"/>
                <a:gd name="T73" fmla="*/ 463 h 1279"/>
                <a:gd name="T74" fmla="*/ 101 w 533"/>
                <a:gd name="T75" fmla="*/ 463 h 1279"/>
                <a:gd name="T76" fmla="*/ 101 w 533"/>
                <a:gd name="T77" fmla="*/ 355 h 1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533" h="1279">
                  <a:moveTo>
                    <a:pt x="0" y="224"/>
                  </a:moveTo>
                  <a:lnTo>
                    <a:pt x="0" y="1279"/>
                  </a:lnTo>
                  <a:lnTo>
                    <a:pt x="533" y="1279"/>
                  </a:lnTo>
                  <a:lnTo>
                    <a:pt x="533" y="224"/>
                  </a:lnTo>
                  <a:lnTo>
                    <a:pt x="451" y="224"/>
                  </a:lnTo>
                  <a:lnTo>
                    <a:pt x="451" y="116"/>
                  </a:lnTo>
                  <a:lnTo>
                    <a:pt x="82" y="0"/>
                  </a:lnTo>
                  <a:lnTo>
                    <a:pt x="82" y="224"/>
                  </a:lnTo>
                  <a:lnTo>
                    <a:pt x="0" y="224"/>
                  </a:lnTo>
                  <a:close/>
                  <a:moveTo>
                    <a:pt x="324" y="792"/>
                  </a:moveTo>
                  <a:lnTo>
                    <a:pt x="432" y="792"/>
                  </a:lnTo>
                  <a:lnTo>
                    <a:pt x="432" y="900"/>
                  </a:lnTo>
                  <a:lnTo>
                    <a:pt x="324" y="900"/>
                  </a:lnTo>
                  <a:lnTo>
                    <a:pt x="324" y="792"/>
                  </a:lnTo>
                  <a:close/>
                  <a:moveTo>
                    <a:pt x="324" y="574"/>
                  </a:moveTo>
                  <a:lnTo>
                    <a:pt x="432" y="574"/>
                  </a:lnTo>
                  <a:lnTo>
                    <a:pt x="432" y="682"/>
                  </a:lnTo>
                  <a:lnTo>
                    <a:pt x="324" y="682"/>
                  </a:lnTo>
                  <a:lnTo>
                    <a:pt x="324" y="574"/>
                  </a:lnTo>
                  <a:close/>
                  <a:moveTo>
                    <a:pt x="324" y="355"/>
                  </a:moveTo>
                  <a:lnTo>
                    <a:pt x="432" y="355"/>
                  </a:lnTo>
                  <a:lnTo>
                    <a:pt x="432" y="463"/>
                  </a:lnTo>
                  <a:lnTo>
                    <a:pt x="324" y="463"/>
                  </a:lnTo>
                  <a:lnTo>
                    <a:pt x="324" y="355"/>
                  </a:lnTo>
                  <a:close/>
                  <a:moveTo>
                    <a:pt x="101" y="792"/>
                  </a:moveTo>
                  <a:lnTo>
                    <a:pt x="209" y="792"/>
                  </a:lnTo>
                  <a:lnTo>
                    <a:pt x="209" y="900"/>
                  </a:lnTo>
                  <a:lnTo>
                    <a:pt x="101" y="900"/>
                  </a:lnTo>
                  <a:lnTo>
                    <a:pt x="101" y="792"/>
                  </a:lnTo>
                  <a:close/>
                  <a:moveTo>
                    <a:pt x="101" y="574"/>
                  </a:moveTo>
                  <a:lnTo>
                    <a:pt x="209" y="574"/>
                  </a:lnTo>
                  <a:lnTo>
                    <a:pt x="209" y="682"/>
                  </a:lnTo>
                  <a:lnTo>
                    <a:pt x="101" y="682"/>
                  </a:lnTo>
                  <a:lnTo>
                    <a:pt x="101" y="574"/>
                  </a:lnTo>
                  <a:close/>
                  <a:moveTo>
                    <a:pt x="101" y="355"/>
                  </a:moveTo>
                  <a:lnTo>
                    <a:pt x="209" y="355"/>
                  </a:lnTo>
                  <a:lnTo>
                    <a:pt x="209" y="463"/>
                  </a:lnTo>
                  <a:lnTo>
                    <a:pt x="101" y="463"/>
                  </a:lnTo>
                  <a:lnTo>
                    <a:pt x="101" y="35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endParaRPr lang="ru-RU"/>
            </a:p>
          </p:txBody>
        </p:sp>
      </p:grpSp>
      <p:pic>
        <p:nvPicPr>
          <p:cNvPr id="63" name="图片 6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46016" y="2681513"/>
            <a:ext cx="7854120" cy="3212635"/>
          </a:xfrm>
          <a:prstGeom prst="rect">
            <a:avLst/>
          </a:prstGeom>
        </p:spPr>
      </p:pic>
      <p:sp>
        <p:nvSpPr>
          <p:cNvPr id="41" name="îslîḋê">
            <a:extLst>
              <a:ext uri="{FF2B5EF4-FFF2-40B4-BE49-F238E27FC236}">
                <a16:creationId xmlns="" xmlns:a16="http://schemas.microsoft.com/office/drawing/2014/main" id="{DCE20565-2A46-44FE-BA7F-54A048ABDDDC}"/>
              </a:ext>
            </a:extLst>
          </p:cNvPr>
          <p:cNvSpPr/>
          <p:nvPr userDrawn="1"/>
        </p:nvSpPr>
        <p:spPr bwMode="auto">
          <a:xfrm>
            <a:off x="4762" y="5042646"/>
            <a:ext cx="12187237" cy="1807323"/>
          </a:xfrm>
          <a:custGeom>
            <a:avLst/>
            <a:gdLst>
              <a:gd name="T0" fmla="*/ 0 w 3200"/>
              <a:gd name="T1" fmla="*/ 129 h 391"/>
              <a:gd name="T2" fmla="*/ 3200 w 3200"/>
              <a:gd name="T3" fmla="*/ 0 h 391"/>
              <a:gd name="T4" fmla="*/ 3200 w 3200"/>
              <a:gd name="T5" fmla="*/ 268 h 391"/>
              <a:gd name="T6" fmla="*/ 0 w 3200"/>
              <a:gd name="T7" fmla="*/ 264 h 391"/>
              <a:gd name="T8" fmla="*/ 0 w 3200"/>
              <a:gd name="T9" fmla="*/ 129 h 3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200" h="391">
                <a:moveTo>
                  <a:pt x="0" y="129"/>
                </a:moveTo>
                <a:cubicBezTo>
                  <a:pt x="217" y="129"/>
                  <a:pt x="2396" y="272"/>
                  <a:pt x="3200" y="0"/>
                </a:cubicBezTo>
                <a:cubicBezTo>
                  <a:pt x="3200" y="391"/>
                  <a:pt x="3200" y="268"/>
                  <a:pt x="3200" y="268"/>
                </a:cubicBezTo>
                <a:cubicBezTo>
                  <a:pt x="0" y="264"/>
                  <a:pt x="0" y="264"/>
                  <a:pt x="0" y="264"/>
                </a:cubicBezTo>
                <a:lnTo>
                  <a:pt x="0" y="129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endParaRPr lang="ru-RU"/>
          </a:p>
        </p:txBody>
      </p:sp>
      <p:sp>
        <p:nvSpPr>
          <p:cNvPr id="42" name="iṥliḍè">
            <a:extLst>
              <a:ext uri="{FF2B5EF4-FFF2-40B4-BE49-F238E27FC236}">
                <a16:creationId xmlns="" xmlns:a16="http://schemas.microsoft.com/office/drawing/2014/main" id="{E56648C9-91F5-4477-8772-C42F98C9A5C6}"/>
              </a:ext>
            </a:extLst>
          </p:cNvPr>
          <p:cNvSpPr/>
          <p:nvPr userDrawn="1"/>
        </p:nvSpPr>
        <p:spPr bwMode="auto">
          <a:xfrm>
            <a:off x="4762" y="4796935"/>
            <a:ext cx="12187237" cy="2066481"/>
          </a:xfrm>
          <a:custGeom>
            <a:avLst/>
            <a:gdLst>
              <a:gd name="T0" fmla="*/ 3200 w 3200"/>
              <a:gd name="T1" fmla="*/ 331 h 465"/>
              <a:gd name="T2" fmla="*/ 0 w 3200"/>
              <a:gd name="T3" fmla="*/ 0 h 465"/>
              <a:gd name="T4" fmla="*/ 0 w 3200"/>
              <a:gd name="T5" fmla="*/ 465 h 465"/>
              <a:gd name="T6" fmla="*/ 3200 w 3200"/>
              <a:gd name="T7" fmla="*/ 465 h 465"/>
              <a:gd name="T8" fmla="*/ 3200 w 3200"/>
              <a:gd name="T9" fmla="*/ 331 h 46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200" h="465">
                <a:moveTo>
                  <a:pt x="3200" y="331"/>
                </a:moveTo>
                <a:cubicBezTo>
                  <a:pt x="2983" y="331"/>
                  <a:pt x="804" y="273"/>
                  <a:pt x="0" y="0"/>
                </a:cubicBezTo>
                <a:cubicBezTo>
                  <a:pt x="0" y="392"/>
                  <a:pt x="0" y="465"/>
                  <a:pt x="0" y="465"/>
                </a:cubicBezTo>
                <a:cubicBezTo>
                  <a:pt x="3200" y="465"/>
                  <a:pt x="3200" y="465"/>
                  <a:pt x="3200" y="465"/>
                </a:cubicBezTo>
                <a:lnTo>
                  <a:pt x="3200" y="331"/>
                </a:lnTo>
                <a:close/>
              </a:path>
            </a:pathLst>
          </a:custGeom>
          <a:solidFill>
            <a:srgbClr val="1E437A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825868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内容占位符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 lang="en-US" altLang="zh-CN" dirty="0"/>
            </a:lvl1pPr>
            <a:lvl2pPr>
              <a:defRPr lang="en-US" altLang="zh-CN" dirty="0"/>
            </a:lvl2pPr>
            <a:lvl3pPr>
              <a:defRPr lang="en-US" altLang="zh-CN" dirty="0"/>
            </a:lvl3pPr>
            <a:lvl4pPr>
              <a:defRPr lang="en-US" altLang="zh-CN" dirty="0"/>
            </a:lvl4pPr>
            <a:lvl5pPr>
              <a:defRPr lang="en-US" altLang="zh-CN" dirty="0"/>
            </a:lvl5pPr>
          </a:lstStyle>
          <a:p>
            <a:pPr lvl="0"/>
            <a:r>
              <a:rPr lang="en-US" altLang="zh-CN" dirty="0"/>
              <a:t>Click to 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="" xmlns:a16="http://schemas.microsoft.com/office/drawing/2014/main" id="{96DECD67-EF7B-4225-9DCD-E9A1FB00005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pPr/>
              <a:t>2019/11/25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="" xmlns:a16="http://schemas.microsoft.com/office/drawing/2014/main" id="{41BE31C9-EEB9-478B-9042-EAA8EC2684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6" name="灯片编号占位符 5">
            <a:extLst>
              <a:ext uri="{FF2B5EF4-FFF2-40B4-BE49-F238E27FC236}">
                <a16:creationId xmlns="" xmlns:a16="http://schemas.microsoft.com/office/drawing/2014/main" id="{C5CE021F-56B6-40B0-88C1-2D7CFC553E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97783265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文本占位符 62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673100" y="3869690"/>
            <a:ext cx="4470400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l">
              <a:buNone/>
              <a:defRPr lang="zh-CN" altLang="en-US" sz="1500" smtClean="0">
                <a:solidFill>
                  <a:schemeClr val="tx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589" marR="0" lvl="0" indent="-228589" fontAlgn="auto">
              <a:spcAft>
                <a:spcPts val="0"/>
              </a:spcAft>
              <a:buClrTx/>
              <a:buSzTx/>
              <a:tabLst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13">
            <a:extLst>
              <a:ext uri="{FF2B5EF4-FFF2-40B4-BE49-F238E27FC236}">
                <a16:creationId xmlns="" xmlns:a16="http://schemas.microsoft.com/office/drawing/2014/main" id="{05EBDA4F-7210-4CAE-8333-80DB24212E78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73100" y="3573419"/>
            <a:ext cx="4470400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tx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3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673100" y="2026082"/>
            <a:ext cx="4470400" cy="1332948"/>
          </a:xfrm>
        </p:spPr>
        <p:txBody>
          <a:bodyPr anchor="b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grpSp>
        <p:nvGrpSpPr>
          <p:cNvPr id="77" name="isḷidé">
            <a:extLst>
              <a:ext uri="{FF2B5EF4-FFF2-40B4-BE49-F238E27FC236}">
                <a16:creationId xmlns="" xmlns:a16="http://schemas.microsoft.com/office/drawing/2014/main" id="{421A1E40-8FE0-4B19-A050-BAF4E001F5BD}"/>
              </a:ext>
            </a:extLst>
          </p:cNvPr>
          <p:cNvGrpSpPr/>
          <p:nvPr userDrawn="1"/>
        </p:nvGrpSpPr>
        <p:grpSpPr>
          <a:xfrm flipH="1">
            <a:off x="4776694" y="1542257"/>
            <a:ext cx="6645275" cy="3994150"/>
            <a:chOff x="107951" y="2128838"/>
            <a:chExt cx="6645275" cy="3994150"/>
          </a:xfrm>
          <a:solidFill>
            <a:schemeClr val="accent5">
              <a:lumMod val="20000"/>
              <a:lumOff val="80000"/>
            </a:schemeClr>
          </a:solidFill>
        </p:grpSpPr>
        <p:sp>
          <p:nvSpPr>
            <p:cNvPr id="78" name="íŝḻïḓè">
              <a:extLst>
                <a:ext uri="{FF2B5EF4-FFF2-40B4-BE49-F238E27FC236}">
                  <a16:creationId xmlns="" xmlns:a16="http://schemas.microsoft.com/office/drawing/2014/main" id="{AE1CA999-4493-428F-ACF7-BA8F6B7DFE09}"/>
                </a:ext>
              </a:extLst>
            </p:cNvPr>
            <p:cNvSpPr/>
            <p:nvPr/>
          </p:nvSpPr>
          <p:spPr bwMode="auto">
            <a:xfrm>
              <a:off x="1074738" y="3060700"/>
              <a:ext cx="844550" cy="3062288"/>
            </a:xfrm>
            <a:custGeom>
              <a:avLst/>
              <a:gdLst>
                <a:gd name="T0" fmla="*/ 0 w 532"/>
                <a:gd name="T1" fmla="*/ 355 h 1929"/>
                <a:gd name="T2" fmla="*/ 0 w 532"/>
                <a:gd name="T3" fmla="*/ 1929 h 1929"/>
                <a:gd name="T4" fmla="*/ 532 w 532"/>
                <a:gd name="T5" fmla="*/ 1929 h 1929"/>
                <a:gd name="T6" fmla="*/ 532 w 532"/>
                <a:gd name="T7" fmla="*/ 0 h 1929"/>
                <a:gd name="T8" fmla="*/ 0 w 532"/>
                <a:gd name="T9" fmla="*/ 355 h 1929"/>
                <a:gd name="T10" fmla="*/ 69 w 532"/>
                <a:gd name="T11" fmla="*/ 1502 h 1929"/>
                <a:gd name="T12" fmla="*/ 462 w 532"/>
                <a:gd name="T13" fmla="*/ 1502 h 1929"/>
                <a:gd name="T14" fmla="*/ 462 w 532"/>
                <a:gd name="T15" fmla="*/ 1543 h 1929"/>
                <a:gd name="T16" fmla="*/ 69 w 532"/>
                <a:gd name="T17" fmla="*/ 1543 h 1929"/>
                <a:gd name="T18" fmla="*/ 69 w 532"/>
                <a:gd name="T19" fmla="*/ 1502 h 1929"/>
                <a:gd name="T20" fmla="*/ 69 w 532"/>
                <a:gd name="T21" fmla="*/ 1387 h 1929"/>
                <a:gd name="T22" fmla="*/ 462 w 532"/>
                <a:gd name="T23" fmla="*/ 1387 h 1929"/>
                <a:gd name="T24" fmla="*/ 462 w 532"/>
                <a:gd name="T25" fmla="*/ 1428 h 1929"/>
                <a:gd name="T26" fmla="*/ 69 w 532"/>
                <a:gd name="T27" fmla="*/ 1428 h 1929"/>
                <a:gd name="T28" fmla="*/ 69 w 532"/>
                <a:gd name="T29" fmla="*/ 1387 h 1929"/>
                <a:gd name="T30" fmla="*/ 69 w 532"/>
                <a:gd name="T31" fmla="*/ 1272 h 1929"/>
                <a:gd name="T32" fmla="*/ 462 w 532"/>
                <a:gd name="T33" fmla="*/ 1272 h 1929"/>
                <a:gd name="T34" fmla="*/ 462 w 532"/>
                <a:gd name="T35" fmla="*/ 1315 h 1929"/>
                <a:gd name="T36" fmla="*/ 69 w 532"/>
                <a:gd name="T37" fmla="*/ 1315 h 1929"/>
                <a:gd name="T38" fmla="*/ 69 w 532"/>
                <a:gd name="T39" fmla="*/ 1272 h 1929"/>
                <a:gd name="T40" fmla="*/ 69 w 532"/>
                <a:gd name="T41" fmla="*/ 1157 h 1929"/>
                <a:gd name="T42" fmla="*/ 462 w 532"/>
                <a:gd name="T43" fmla="*/ 1157 h 1929"/>
                <a:gd name="T44" fmla="*/ 462 w 532"/>
                <a:gd name="T45" fmla="*/ 1200 h 1929"/>
                <a:gd name="T46" fmla="*/ 69 w 532"/>
                <a:gd name="T47" fmla="*/ 1200 h 1929"/>
                <a:gd name="T48" fmla="*/ 69 w 532"/>
                <a:gd name="T49" fmla="*/ 1157 h 1929"/>
                <a:gd name="T50" fmla="*/ 69 w 532"/>
                <a:gd name="T51" fmla="*/ 1044 h 1929"/>
                <a:gd name="T52" fmla="*/ 462 w 532"/>
                <a:gd name="T53" fmla="*/ 1044 h 1929"/>
                <a:gd name="T54" fmla="*/ 462 w 532"/>
                <a:gd name="T55" fmla="*/ 1085 h 1929"/>
                <a:gd name="T56" fmla="*/ 69 w 532"/>
                <a:gd name="T57" fmla="*/ 1085 h 1929"/>
                <a:gd name="T58" fmla="*/ 69 w 532"/>
                <a:gd name="T59" fmla="*/ 1044 h 1929"/>
                <a:gd name="T60" fmla="*/ 69 w 532"/>
                <a:gd name="T61" fmla="*/ 929 h 1929"/>
                <a:gd name="T62" fmla="*/ 462 w 532"/>
                <a:gd name="T63" fmla="*/ 929 h 1929"/>
                <a:gd name="T64" fmla="*/ 462 w 532"/>
                <a:gd name="T65" fmla="*/ 969 h 1929"/>
                <a:gd name="T66" fmla="*/ 69 w 532"/>
                <a:gd name="T67" fmla="*/ 969 h 1929"/>
                <a:gd name="T68" fmla="*/ 69 w 532"/>
                <a:gd name="T69" fmla="*/ 929 h 1929"/>
                <a:gd name="T70" fmla="*/ 69 w 532"/>
                <a:gd name="T71" fmla="*/ 814 h 1929"/>
                <a:gd name="T72" fmla="*/ 462 w 532"/>
                <a:gd name="T73" fmla="*/ 814 h 1929"/>
                <a:gd name="T74" fmla="*/ 462 w 532"/>
                <a:gd name="T75" fmla="*/ 854 h 1929"/>
                <a:gd name="T76" fmla="*/ 69 w 532"/>
                <a:gd name="T77" fmla="*/ 854 h 1929"/>
                <a:gd name="T78" fmla="*/ 69 w 532"/>
                <a:gd name="T79" fmla="*/ 814 h 1929"/>
                <a:gd name="T80" fmla="*/ 69 w 532"/>
                <a:gd name="T81" fmla="*/ 698 h 1929"/>
                <a:gd name="T82" fmla="*/ 462 w 532"/>
                <a:gd name="T83" fmla="*/ 698 h 1929"/>
                <a:gd name="T84" fmla="*/ 462 w 532"/>
                <a:gd name="T85" fmla="*/ 739 h 1929"/>
                <a:gd name="T86" fmla="*/ 69 w 532"/>
                <a:gd name="T87" fmla="*/ 739 h 1929"/>
                <a:gd name="T88" fmla="*/ 69 w 532"/>
                <a:gd name="T89" fmla="*/ 698 h 1929"/>
                <a:gd name="T90" fmla="*/ 69 w 532"/>
                <a:gd name="T91" fmla="*/ 583 h 1929"/>
                <a:gd name="T92" fmla="*/ 462 w 532"/>
                <a:gd name="T93" fmla="*/ 583 h 1929"/>
                <a:gd name="T94" fmla="*/ 462 w 532"/>
                <a:gd name="T95" fmla="*/ 626 h 1929"/>
                <a:gd name="T96" fmla="*/ 69 w 532"/>
                <a:gd name="T97" fmla="*/ 626 h 1929"/>
                <a:gd name="T98" fmla="*/ 69 w 532"/>
                <a:gd name="T99" fmla="*/ 583 h 1929"/>
                <a:gd name="T100" fmla="*/ 69 w 532"/>
                <a:gd name="T101" fmla="*/ 468 h 1929"/>
                <a:gd name="T102" fmla="*/ 462 w 532"/>
                <a:gd name="T103" fmla="*/ 468 h 1929"/>
                <a:gd name="T104" fmla="*/ 462 w 532"/>
                <a:gd name="T105" fmla="*/ 511 h 1929"/>
                <a:gd name="T106" fmla="*/ 69 w 532"/>
                <a:gd name="T107" fmla="*/ 511 h 1929"/>
                <a:gd name="T108" fmla="*/ 69 w 532"/>
                <a:gd name="T109" fmla="*/ 468 h 19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532" h="1929">
                  <a:moveTo>
                    <a:pt x="0" y="355"/>
                  </a:moveTo>
                  <a:lnTo>
                    <a:pt x="0" y="1929"/>
                  </a:lnTo>
                  <a:lnTo>
                    <a:pt x="532" y="1929"/>
                  </a:lnTo>
                  <a:lnTo>
                    <a:pt x="532" y="0"/>
                  </a:lnTo>
                  <a:lnTo>
                    <a:pt x="0" y="355"/>
                  </a:lnTo>
                  <a:close/>
                  <a:moveTo>
                    <a:pt x="69" y="1502"/>
                  </a:moveTo>
                  <a:lnTo>
                    <a:pt x="462" y="1502"/>
                  </a:lnTo>
                  <a:lnTo>
                    <a:pt x="462" y="1543"/>
                  </a:lnTo>
                  <a:lnTo>
                    <a:pt x="69" y="1543"/>
                  </a:lnTo>
                  <a:lnTo>
                    <a:pt x="69" y="1502"/>
                  </a:lnTo>
                  <a:close/>
                  <a:moveTo>
                    <a:pt x="69" y="1387"/>
                  </a:moveTo>
                  <a:lnTo>
                    <a:pt x="462" y="1387"/>
                  </a:lnTo>
                  <a:lnTo>
                    <a:pt x="462" y="1428"/>
                  </a:lnTo>
                  <a:lnTo>
                    <a:pt x="69" y="1428"/>
                  </a:lnTo>
                  <a:lnTo>
                    <a:pt x="69" y="1387"/>
                  </a:lnTo>
                  <a:close/>
                  <a:moveTo>
                    <a:pt x="69" y="1272"/>
                  </a:moveTo>
                  <a:lnTo>
                    <a:pt x="462" y="1272"/>
                  </a:lnTo>
                  <a:lnTo>
                    <a:pt x="462" y="1315"/>
                  </a:lnTo>
                  <a:lnTo>
                    <a:pt x="69" y="1315"/>
                  </a:lnTo>
                  <a:lnTo>
                    <a:pt x="69" y="1272"/>
                  </a:lnTo>
                  <a:close/>
                  <a:moveTo>
                    <a:pt x="69" y="1157"/>
                  </a:moveTo>
                  <a:lnTo>
                    <a:pt x="462" y="1157"/>
                  </a:lnTo>
                  <a:lnTo>
                    <a:pt x="462" y="1200"/>
                  </a:lnTo>
                  <a:lnTo>
                    <a:pt x="69" y="1200"/>
                  </a:lnTo>
                  <a:lnTo>
                    <a:pt x="69" y="1157"/>
                  </a:lnTo>
                  <a:close/>
                  <a:moveTo>
                    <a:pt x="69" y="1044"/>
                  </a:moveTo>
                  <a:lnTo>
                    <a:pt x="462" y="1044"/>
                  </a:lnTo>
                  <a:lnTo>
                    <a:pt x="462" y="1085"/>
                  </a:lnTo>
                  <a:lnTo>
                    <a:pt x="69" y="1085"/>
                  </a:lnTo>
                  <a:lnTo>
                    <a:pt x="69" y="1044"/>
                  </a:lnTo>
                  <a:close/>
                  <a:moveTo>
                    <a:pt x="69" y="929"/>
                  </a:moveTo>
                  <a:lnTo>
                    <a:pt x="462" y="929"/>
                  </a:lnTo>
                  <a:lnTo>
                    <a:pt x="462" y="969"/>
                  </a:lnTo>
                  <a:lnTo>
                    <a:pt x="69" y="969"/>
                  </a:lnTo>
                  <a:lnTo>
                    <a:pt x="69" y="929"/>
                  </a:lnTo>
                  <a:close/>
                  <a:moveTo>
                    <a:pt x="69" y="814"/>
                  </a:moveTo>
                  <a:lnTo>
                    <a:pt x="462" y="814"/>
                  </a:lnTo>
                  <a:lnTo>
                    <a:pt x="462" y="854"/>
                  </a:lnTo>
                  <a:lnTo>
                    <a:pt x="69" y="854"/>
                  </a:lnTo>
                  <a:lnTo>
                    <a:pt x="69" y="814"/>
                  </a:lnTo>
                  <a:close/>
                  <a:moveTo>
                    <a:pt x="69" y="698"/>
                  </a:moveTo>
                  <a:lnTo>
                    <a:pt x="462" y="698"/>
                  </a:lnTo>
                  <a:lnTo>
                    <a:pt x="462" y="739"/>
                  </a:lnTo>
                  <a:lnTo>
                    <a:pt x="69" y="739"/>
                  </a:lnTo>
                  <a:lnTo>
                    <a:pt x="69" y="698"/>
                  </a:lnTo>
                  <a:close/>
                  <a:moveTo>
                    <a:pt x="69" y="583"/>
                  </a:moveTo>
                  <a:lnTo>
                    <a:pt x="462" y="583"/>
                  </a:lnTo>
                  <a:lnTo>
                    <a:pt x="462" y="626"/>
                  </a:lnTo>
                  <a:lnTo>
                    <a:pt x="69" y="626"/>
                  </a:lnTo>
                  <a:lnTo>
                    <a:pt x="69" y="583"/>
                  </a:lnTo>
                  <a:close/>
                  <a:moveTo>
                    <a:pt x="69" y="468"/>
                  </a:moveTo>
                  <a:lnTo>
                    <a:pt x="462" y="468"/>
                  </a:lnTo>
                  <a:lnTo>
                    <a:pt x="462" y="511"/>
                  </a:lnTo>
                  <a:lnTo>
                    <a:pt x="69" y="511"/>
                  </a:lnTo>
                  <a:lnTo>
                    <a:pt x="69" y="46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endParaRPr lang="ru-RU"/>
            </a:p>
          </p:txBody>
        </p:sp>
        <p:sp>
          <p:nvSpPr>
            <p:cNvPr id="79" name="iŝļïďe">
              <a:extLst>
                <a:ext uri="{FF2B5EF4-FFF2-40B4-BE49-F238E27FC236}">
                  <a16:creationId xmlns="" xmlns:a16="http://schemas.microsoft.com/office/drawing/2014/main" id="{E1CDC87C-6C78-4C46-9BD6-4E28F1FAF9B5}"/>
                </a:ext>
              </a:extLst>
            </p:cNvPr>
            <p:cNvSpPr/>
            <p:nvPr/>
          </p:nvSpPr>
          <p:spPr bwMode="auto">
            <a:xfrm>
              <a:off x="107951" y="3571875"/>
              <a:ext cx="844550" cy="2551113"/>
            </a:xfrm>
            <a:custGeom>
              <a:avLst/>
              <a:gdLst>
                <a:gd name="T0" fmla="*/ 0 w 532"/>
                <a:gd name="T1" fmla="*/ 314 h 1607"/>
                <a:gd name="T2" fmla="*/ 0 w 532"/>
                <a:gd name="T3" fmla="*/ 1607 h 1607"/>
                <a:gd name="T4" fmla="*/ 532 w 532"/>
                <a:gd name="T5" fmla="*/ 1607 h 1607"/>
                <a:gd name="T6" fmla="*/ 532 w 532"/>
                <a:gd name="T7" fmla="*/ 314 h 1607"/>
                <a:gd name="T8" fmla="*/ 347 w 532"/>
                <a:gd name="T9" fmla="*/ 314 h 1607"/>
                <a:gd name="T10" fmla="*/ 347 w 532"/>
                <a:gd name="T11" fmla="*/ 192 h 1607"/>
                <a:gd name="T12" fmla="*/ 242 w 532"/>
                <a:gd name="T13" fmla="*/ 192 h 1607"/>
                <a:gd name="T14" fmla="*/ 242 w 532"/>
                <a:gd name="T15" fmla="*/ 314 h 1607"/>
                <a:gd name="T16" fmla="*/ 163 w 532"/>
                <a:gd name="T17" fmla="*/ 314 h 1607"/>
                <a:gd name="T18" fmla="*/ 163 w 532"/>
                <a:gd name="T19" fmla="*/ 0 h 1607"/>
                <a:gd name="T20" fmla="*/ 55 w 532"/>
                <a:gd name="T21" fmla="*/ 0 h 1607"/>
                <a:gd name="T22" fmla="*/ 55 w 532"/>
                <a:gd name="T23" fmla="*/ 314 h 1607"/>
                <a:gd name="T24" fmla="*/ 0 w 532"/>
                <a:gd name="T25" fmla="*/ 314 h 1607"/>
                <a:gd name="T26" fmla="*/ 335 w 532"/>
                <a:gd name="T27" fmla="*/ 1226 h 1607"/>
                <a:gd name="T28" fmla="*/ 438 w 532"/>
                <a:gd name="T29" fmla="*/ 1226 h 1607"/>
                <a:gd name="T30" fmla="*/ 438 w 532"/>
                <a:gd name="T31" fmla="*/ 1329 h 1607"/>
                <a:gd name="T32" fmla="*/ 335 w 532"/>
                <a:gd name="T33" fmla="*/ 1329 h 1607"/>
                <a:gd name="T34" fmla="*/ 335 w 532"/>
                <a:gd name="T35" fmla="*/ 1226 h 1607"/>
                <a:gd name="T36" fmla="*/ 335 w 532"/>
                <a:gd name="T37" fmla="*/ 1034 h 1607"/>
                <a:gd name="T38" fmla="*/ 438 w 532"/>
                <a:gd name="T39" fmla="*/ 1034 h 1607"/>
                <a:gd name="T40" fmla="*/ 438 w 532"/>
                <a:gd name="T41" fmla="*/ 1137 h 1607"/>
                <a:gd name="T42" fmla="*/ 335 w 532"/>
                <a:gd name="T43" fmla="*/ 1137 h 1607"/>
                <a:gd name="T44" fmla="*/ 335 w 532"/>
                <a:gd name="T45" fmla="*/ 1034 h 1607"/>
                <a:gd name="T46" fmla="*/ 335 w 532"/>
                <a:gd name="T47" fmla="*/ 842 h 1607"/>
                <a:gd name="T48" fmla="*/ 438 w 532"/>
                <a:gd name="T49" fmla="*/ 842 h 1607"/>
                <a:gd name="T50" fmla="*/ 438 w 532"/>
                <a:gd name="T51" fmla="*/ 947 h 1607"/>
                <a:gd name="T52" fmla="*/ 335 w 532"/>
                <a:gd name="T53" fmla="*/ 947 h 1607"/>
                <a:gd name="T54" fmla="*/ 335 w 532"/>
                <a:gd name="T55" fmla="*/ 842 h 1607"/>
                <a:gd name="T56" fmla="*/ 335 w 532"/>
                <a:gd name="T57" fmla="*/ 652 h 1607"/>
                <a:gd name="T58" fmla="*/ 438 w 532"/>
                <a:gd name="T59" fmla="*/ 652 h 1607"/>
                <a:gd name="T60" fmla="*/ 438 w 532"/>
                <a:gd name="T61" fmla="*/ 755 h 1607"/>
                <a:gd name="T62" fmla="*/ 335 w 532"/>
                <a:gd name="T63" fmla="*/ 755 h 1607"/>
                <a:gd name="T64" fmla="*/ 335 w 532"/>
                <a:gd name="T65" fmla="*/ 652 h 1607"/>
                <a:gd name="T66" fmla="*/ 335 w 532"/>
                <a:gd name="T67" fmla="*/ 460 h 1607"/>
                <a:gd name="T68" fmla="*/ 438 w 532"/>
                <a:gd name="T69" fmla="*/ 460 h 1607"/>
                <a:gd name="T70" fmla="*/ 438 w 532"/>
                <a:gd name="T71" fmla="*/ 566 h 1607"/>
                <a:gd name="T72" fmla="*/ 335 w 532"/>
                <a:gd name="T73" fmla="*/ 566 h 1607"/>
                <a:gd name="T74" fmla="*/ 335 w 532"/>
                <a:gd name="T75" fmla="*/ 460 h 1607"/>
                <a:gd name="T76" fmla="*/ 93 w 532"/>
                <a:gd name="T77" fmla="*/ 1226 h 1607"/>
                <a:gd name="T78" fmla="*/ 196 w 532"/>
                <a:gd name="T79" fmla="*/ 1226 h 1607"/>
                <a:gd name="T80" fmla="*/ 196 w 532"/>
                <a:gd name="T81" fmla="*/ 1329 h 1607"/>
                <a:gd name="T82" fmla="*/ 93 w 532"/>
                <a:gd name="T83" fmla="*/ 1329 h 1607"/>
                <a:gd name="T84" fmla="*/ 93 w 532"/>
                <a:gd name="T85" fmla="*/ 1226 h 1607"/>
                <a:gd name="T86" fmla="*/ 93 w 532"/>
                <a:gd name="T87" fmla="*/ 1034 h 1607"/>
                <a:gd name="T88" fmla="*/ 196 w 532"/>
                <a:gd name="T89" fmla="*/ 1034 h 1607"/>
                <a:gd name="T90" fmla="*/ 196 w 532"/>
                <a:gd name="T91" fmla="*/ 1137 h 1607"/>
                <a:gd name="T92" fmla="*/ 93 w 532"/>
                <a:gd name="T93" fmla="*/ 1137 h 1607"/>
                <a:gd name="T94" fmla="*/ 93 w 532"/>
                <a:gd name="T95" fmla="*/ 1034 h 1607"/>
                <a:gd name="T96" fmla="*/ 93 w 532"/>
                <a:gd name="T97" fmla="*/ 842 h 1607"/>
                <a:gd name="T98" fmla="*/ 196 w 532"/>
                <a:gd name="T99" fmla="*/ 842 h 1607"/>
                <a:gd name="T100" fmla="*/ 196 w 532"/>
                <a:gd name="T101" fmla="*/ 947 h 1607"/>
                <a:gd name="T102" fmla="*/ 93 w 532"/>
                <a:gd name="T103" fmla="*/ 947 h 1607"/>
                <a:gd name="T104" fmla="*/ 93 w 532"/>
                <a:gd name="T105" fmla="*/ 842 h 1607"/>
                <a:gd name="T106" fmla="*/ 93 w 532"/>
                <a:gd name="T107" fmla="*/ 652 h 1607"/>
                <a:gd name="T108" fmla="*/ 196 w 532"/>
                <a:gd name="T109" fmla="*/ 652 h 1607"/>
                <a:gd name="T110" fmla="*/ 196 w 532"/>
                <a:gd name="T111" fmla="*/ 755 h 1607"/>
                <a:gd name="T112" fmla="*/ 93 w 532"/>
                <a:gd name="T113" fmla="*/ 755 h 1607"/>
                <a:gd name="T114" fmla="*/ 93 w 532"/>
                <a:gd name="T115" fmla="*/ 652 h 1607"/>
                <a:gd name="T116" fmla="*/ 93 w 532"/>
                <a:gd name="T117" fmla="*/ 460 h 1607"/>
                <a:gd name="T118" fmla="*/ 196 w 532"/>
                <a:gd name="T119" fmla="*/ 460 h 1607"/>
                <a:gd name="T120" fmla="*/ 196 w 532"/>
                <a:gd name="T121" fmla="*/ 566 h 1607"/>
                <a:gd name="T122" fmla="*/ 93 w 532"/>
                <a:gd name="T123" fmla="*/ 566 h 1607"/>
                <a:gd name="T124" fmla="*/ 93 w 532"/>
                <a:gd name="T125" fmla="*/ 460 h 16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532" h="1607">
                  <a:moveTo>
                    <a:pt x="0" y="314"/>
                  </a:moveTo>
                  <a:lnTo>
                    <a:pt x="0" y="1607"/>
                  </a:lnTo>
                  <a:lnTo>
                    <a:pt x="532" y="1607"/>
                  </a:lnTo>
                  <a:lnTo>
                    <a:pt x="532" y="314"/>
                  </a:lnTo>
                  <a:lnTo>
                    <a:pt x="347" y="314"/>
                  </a:lnTo>
                  <a:lnTo>
                    <a:pt x="347" y="192"/>
                  </a:lnTo>
                  <a:lnTo>
                    <a:pt x="242" y="192"/>
                  </a:lnTo>
                  <a:lnTo>
                    <a:pt x="242" y="314"/>
                  </a:lnTo>
                  <a:lnTo>
                    <a:pt x="163" y="314"/>
                  </a:lnTo>
                  <a:lnTo>
                    <a:pt x="163" y="0"/>
                  </a:lnTo>
                  <a:lnTo>
                    <a:pt x="55" y="0"/>
                  </a:lnTo>
                  <a:lnTo>
                    <a:pt x="55" y="314"/>
                  </a:lnTo>
                  <a:lnTo>
                    <a:pt x="0" y="314"/>
                  </a:lnTo>
                  <a:close/>
                  <a:moveTo>
                    <a:pt x="335" y="1226"/>
                  </a:moveTo>
                  <a:lnTo>
                    <a:pt x="438" y="1226"/>
                  </a:lnTo>
                  <a:lnTo>
                    <a:pt x="438" y="1329"/>
                  </a:lnTo>
                  <a:lnTo>
                    <a:pt x="335" y="1329"/>
                  </a:lnTo>
                  <a:lnTo>
                    <a:pt x="335" y="1226"/>
                  </a:lnTo>
                  <a:close/>
                  <a:moveTo>
                    <a:pt x="335" y="1034"/>
                  </a:moveTo>
                  <a:lnTo>
                    <a:pt x="438" y="1034"/>
                  </a:lnTo>
                  <a:lnTo>
                    <a:pt x="438" y="1137"/>
                  </a:lnTo>
                  <a:lnTo>
                    <a:pt x="335" y="1137"/>
                  </a:lnTo>
                  <a:lnTo>
                    <a:pt x="335" y="1034"/>
                  </a:lnTo>
                  <a:close/>
                  <a:moveTo>
                    <a:pt x="335" y="842"/>
                  </a:moveTo>
                  <a:lnTo>
                    <a:pt x="438" y="842"/>
                  </a:lnTo>
                  <a:lnTo>
                    <a:pt x="438" y="947"/>
                  </a:lnTo>
                  <a:lnTo>
                    <a:pt x="335" y="947"/>
                  </a:lnTo>
                  <a:lnTo>
                    <a:pt x="335" y="842"/>
                  </a:lnTo>
                  <a:close/>
                  <a:moveTo>
                    <a:pt x="335" y="652"/>
                  </a:moveTo>
                  <a:lnTo>
                    <a:pt x="438" y="652"/>
                  </a:lnTo>
                  <a:lnTo>
                    <a:pt x="438" y="755"/>
                  </a:lnTo>
                  <a:lnTo>
                    <a:pt x="335" y="755"/>
                  </a:lnTo>
                  <a:lnTo>
                    <a:pt x="335" y="652"/>
                  </a:lnTo>
                  <a:close/>
                  <a:moveTo>
                    <a:pt x="335" y="460"/>
                  </a:moveTo>
                  <a:lnTo>
                    <a:pt x="438" y="460"/>
                  </a:lnTo>
                  <a:lnTo>
                    <a:pt x="438" y="566"/>
                  </a:lnTo>
                  <a:lnTo>
                    <a:pt x="335" y="566"/>
                  </a:lnTo>
                  <a:lnTo>
                    <a:pt x="335" y="460"/>
                  </a:lnTo>
                  <a:close/>
                  <a:moveTo>
                    <a:pt x="93" y="1226"/>
                  </a:moveTo>
                  <a:lnTo>
                    <a:pt x="196" y="1226"/>
                  </a:lnTo>
                  <a:lnTo>
                    <a:pt x="196" y="1329"/>
                  </a:lnTo>
                  <a:lnTo>
                    <a:pt x="93" y="1329"/>
                  </a:lnTo>
                  <a:lnTo>
                    <a:pt x="93" y="1226"/>
                  </a:lnTo>
                  <a:close/>
                  <a:moveTo>
                    <a:pt x="93" y="1034"/>
                  </a:moveTo>
                  <a:lnTo>
                    <a:pt x="196" y="1034"/>
                  </a:lnTo>
                  <a:lnTo>
                    <a:pt x="196" y="1137"/>
                  </a:lnTo>
                  <a:lnTo>
                    <a:pt x="93" y="1137"/>
                  </a:lnTo>
                  <a:lnTo>
                    <a:pt x="93" y="1034"/>
                  </a:lnTo>
                  <a:close/>
                  <a:moveTo>
                    <a:pt x="93" y="842"/>
                  </a:moveTo>
                  <a:lnTo>
                    <a:pt x="196" y="842"/>
                  </a:lnTo>
                  <a:lnTo>
                    <a:pt x="196" y="947"/>
                  </a:lnTo>
                  <a:lnTo>
                    <a:pt x="93" y="947"/>
                  </a:lnTo>
                  <a:lnTo>
                    <a:pt x="93" y="842"/>
                  </a:lnTo>
                  <a:close/>
                  <a:moveTo>
                    <a:pt x="93" y="652"/>
                  </a:moveTo>
                  <a:lnTo>
                    <a:pt x="196" y="652"/>
                  </a:lnTo>
                  <a:lnTo>
                    <a:pt x="196" y="755"/>
                  </a:lnTo>
                  <a:lnTo>
                    <a:pt x="93" y="755"/>
                  </a:lnTo>
                  <a:lnTo>
                    <a:pt x="93" y="652"/>
                  </a:lnTo>
                  <a:close/>
                  <a:moveTo>
                    <a:pt x="93" y="460"/>
                  </a:moveTo>
                  <a:lnTo>
                    <a:pt x="196" y="460"/>
                  </a:lnTo>
                  <a:lnTo>
                    <a:pt x="196" y="566"/>
                  </a:lnTo>
                  <a:lnTo>
                    <a:pt x="93" y="566"/>
                  </a:lnTo>
                  <a:lnTo>
                    <a:pt x="93" y="4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endParaRPr lang="ru-RU"/>
            </a:p>
          </p:txBody>
        </p:sp>
        <p:sp>
          <p:nvSpPr>
            <p:cNvPr id="80" name="işḻîdê">
              <a:extLst>
                <a:ext uri="{FF2B5EF4-FFF2-40B4-BE49-F238E27FC236}">
                  <a16:creationId xmlns="" xmlns:a16="http://schemas.microsoft.com/office/drawing/2014/main" id="{D605F642-22D8-4E37-8D97-D01976A65A8A}"/>
                </a:ext>
              </a:extLst>
            </p:cNvPr>
            <p:cNvSpPr/>
            <p:nvPr/>
          </p:nvSpPr>
          <p:spPr bwMode="auto">
            <a:xfrm>
              <a:off x="3008313" y="2128838"/>
              <a:ext cx="844550" cy="3994150"/>
            </a:xfrm>
            <a:custGeom>
              <a:avLst/>
              <a:gdLst>
                <a:gd name="T0" fmla="*/ 0 w 532"/>
                <a:gd name="T1" fmla="*/ 463 h 2516"/>
                <a:gd name="T2" fmla="*/ 0 w 532"/>
                <a:gd name="T3" fmla="*/ 2516 h 2516"/>
                <a:gd name="T4" fmla="*/ 532 w 532"/>
                <a:gd name="T5" fmla="*/ 2516 h 2516"/>
                <a:gd name="T6" fmla="*/ 532 w 532"/>
                <a:gd name="T7" fmla="*/ 463 h 2516"/>
                <a:gd name="T8" fmla="*/ 258 w 532"/>
                <a:gd name="T9" fmla="*/ 0 h 2516"/>
                <a:gd name="T10" fmla="*/ 0 w 532"/>
                <a:gd name="T11" fmla="*/ 463 h 2516"/>
                <a:gd name="T12" fmla="*/ 371 w 532"/>
                <a:gd name="T13" fmla="*/ 1832 h 2516"/>
                <a:gd name="T14" fmla="*/ 443 w 532"/>
                <a:gd name="T15" fmla="*/ 1832 h 2516"/>
                <a:gd name="T16" fmla="*/ 443 w 532"/>
                <a:gd name="T17" fmla="*/ 2139 h 2516"/>
                <a:gd name="T18" fmla="*/ 371 w 532"/>
                <a:gd name="T19" fmla="*/ 2139 h 2516"/>
                <a:gd name="T20" fmla="*/ 371 w 532"/>
                <a:gd name="T21" fmla="*/ 1832 h 2516"/>
                <a:gd name="T22" fmla="*/ 371 w 532"/>
                <a:gd name="T23" fmla="*/ 1432 h 2516"/>
                <a:gd name="T24" fmla="*/ 443 w 532"/>
                <a:gd name="T25" fmla="*/ 1432 h 2516"/>
                <a:gd name="T26" fmla="*/ 443 w 532"/>
                <a:gd name="T27" fmla="*/ 1739 h 2516"/>
                <a:gd name="T28" fmla="*/ 371 w 532"/>
                <a:gd name="T29" fmla="*/ 1739 h 2516"/>
                <a:gd name="T30" fmla="*/ 371 w 532"/>
                <a:gd name="T31" fmla="*/ 1432 h 2516"/>
                <a:gd name="T32" fmla="*/ 371 w 532"/>
                <a:gd name="T33" fmla="*/ 630 h 2516"/>
                <a:gd name="T34" fmla="*/ 443 w 532"/>
                <a:gd name="T35" fmla="*/ 630 h 2516"/>
                <a:gd name="T36" fmla="*/ 443 w 532"/>
                <a:gd name="T37" fmla="*/ 938 h 2516"/>
                <a:gd name="T38" fmla="*/ 371 w 532"/>
                <a:gd name="T39" fmla="*/ 938 h 2516"/>
                <a:gd name="T40" fmla="*/ 371 w 532"/>
                <a:gd name="T41" fmla="*/ 630 h 2516"/>
                <a:gd name="T42" fmla="*/ 230 w 532"/>
                <a:gd name="T43" fmla="*/ 1832 h 2516"/>
                <a:gd name="T44" fmla="*/ 302 w 532"/>
                <a:gd name="T45" fmla="*/ 1832 h 2516"/>
                <a:gd name="T46" fmla="*/ 302 w 532"/>
                <a:gd name="T47" fmla="*/ 2139 h 2516"/>
                <a:gd name="T48" fmla="*/ 230 w 532"/>
                <a:gd name="T49" fmla="*/ 2139 h 2516"/>
                <a:gd name="T50" fmla="*/ 230 w 532"/>
                <a:gd name="T51" fmla="*/ 1832 h 2516"/>
                <a:gd name="T52" fmla="*/ 230 w 532"/>
                <a:gd name="T53" fmla="*/ 1432 h 2516"/>
                <a:gd name="T54" fmla="*/ 302 w 532"/>
                <a:gd name="T55" fmla="*/ 1432 h 2516"/>
                <a:gd name="T56" fmla="*/ 302 w 532"/>
                <a:gd name="T57" fmla="*/ 1739 h 2516"/>
                <a:gd name="T58" fmla="*/ 230 w 532"/>
                <a:gd name="T59" fmla="*/ 1739 h 2516"/>
                <a:gd name="T60" fmla="*/ 230 w 532"/>
                <a:gd name="T61" fmla="*/ 1432 h 2516"/>
                <a:gd name="T62" fmla="*/ 230 w 532"/>
                <a:gd name="T63" fmla="*/ 1031 h 2516"/>
                <a:gd name="T64" fmla="*/ 302 w 532"/>
                <a:gd name="T65" fmla="*/ 1031 h 2516"/>
                <a:gd name="T66" fmla="*/ 302 w 532"/>
                <a:gd name="T67" fmla="*/ 1338 h 2516"/>
                <a:gd name="T68" fmla="*/ 230 w 532"/>
                <a:gd name="T69" fmla="*/ 1338 h 2516"/>
                <a:gd name="T70" fmla="*/ 230 w 532"/>
                <a:gd name="T71" fmla="*/ 1031 h 2516"/>
                <a:gd name="T72" fmla="*/ 230 w 532"/>
                <a:gd name="T73" fmla="*/ 630 h 2516"/>
                <a:gd name="T74" fmla="*/ 302 w 532"/>
                <a:gd name="T75" fmla="*/ 630 h 2516"/>
                <a:gd name="T76" fmla="*/ 302 w 532"/>
                <a:gd name="T77" fmla="*/ 938 h 2516"/>
                <a:gd name="T78" fmla="*/ 230 w 532"/>
                <a:gd name="T79" fmla="*/ 938 h 2516"/>
                <a:gd name="T80" fmla="*/ 230 w 532"/>
                <a:gd name="T81" fmla="*/ 630 h 2516"/>
                <a:gd name="T82" fmla="*/ 88 w 532"/>
                <a:gd name="T83" fmla="*/ 1832 h 2516"/>
                <a:gd name="T84" fmla="*/ 160 w 532"/>
                <a:gd name="T85" fmla="*/ 1832 h 2516"/>
                <a:gd name="T86" fmla="*/ 160 w 532"/>
                <a:gd name="T87" fmla="*/ 2139 h 2516"/>
                <a:gd name="T88" fmla="*/ 88 w 532"/>
                <a:gd name="T89" fmla="*/ 2139 h 2516"/>
                <a:gd name="T90" fmla="*/ 88 w 532"/>
                <a:gd name="T91" fmla="*/ 1832 h 2516"/>
                <a:gd name="T92" fmla="*/ 88 w 532"/>
                <a:gd name="T93" fmla="*/ 1031 h 2516"/>
                <a:gd name="T94" fmla="*/ 160 w 532"/>
                <a:gd name="T95" fmla="*/ 1031 h 2516"/>
                <a:gd name="T96" fmla="*/ 160 w 532"/>
                <a:gd name="T97" fmla="*/ 1338 h 2516"/>
                <a:gd name="T98" fmla="*/ 88 w 532"/>
                <a:gd name="T99" fmla="*/ 1338 h 2516"/>
                <a:gd name="T100" fmla="*/ 88 w 532"/>
                <a:gd name="T101" fmla="*/ 1031 h 25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532" h="2516">
                  <a:moveTo>
                    <a:pt x="0" y="463"/>
                  </a:moveTo>
                  <a:lnTo>
                    <a:pt x="0" y="2516"/>
                  </a:lnTo>
                  <a:lnTo>
                    <a:pt x="532" y="2516"/>
                  </a:lnTo>
                  <a:lnTo>
                    <a:pt x="532" y="463"/>
                  </a:lnTo>
                  <a:lnTo>
                    <a:pt x="258" y="0"/>
                  </a:lnTo>
                  <a:lnTo>
                    <a:pt x="0" y="463"/>
                  </a:lnTo>
                  <a:close/>
                  <a:moveTo>
                    <a:pt x="371" y="1832"/>
                  </a:moveTo>
                  <a:lnTo>
                    <a:pt x="443" y="1832"/>
                  </a:lnTo>
                  <a:lnTo>
                    <a:pt x="443" y="2139"/>
                  </a:lnTo>
                  <a:lnTo>
                    <a:pt x="371" y="2139"/>
                  </a:lnTo>
                  <a:lnTo>
                    <a:pt x="371" y="1832"/>
                  </a:lnTo>
                  <a:close/>
                  <a:moveTo>
                    <a:pt x="371" y="1432"/>
                  </a:moveTo>
                  <a:lnTo>
                    <a:pt x="443" y="1432"/>
                  </a:lnTo>
                  <a:lnTo>
                    <a:pt x="443" y="1739"/>
                  </a:lnTo>
                  <a:lnTo>
                    <a:pt x="371" y="1739"/>
                  </a:lnTo>
                  <a:lnTo>
                    <a:pt x="371" y="1432"/>
                  </a:lnTo>
                  <a:close/>
                  <a:moveTo>
                    <a:pt x="371" y="630"/>
                  </a:moveTo>
                  <a:lnTo>
                    <a:pt x="443" y="630"/>
                  </a:lnTo>
                  <a:lnTo>
                    <a:pt x="443" y="938"/>
                  </a:lnTo>
                  <a:lnTo>
                    <a:pt x="371" y="938"/>
                  </a:lnTo>
                  <a:lnTo>
                    <a:pt x="371" y="630"/>
                  </a:lnTo>
                  <a:close/>
                  <a:moveTo>
                    <a:pt x="230" y="1832"/>
                  </a:moveTo>
                  <a:lnTo>
                    <a:pt x="302" y="1832"/>
                  </a:lnTo>
                  <a:lnTo>
                    <a:pt x="302" y="2139"/>
                  </a:lnTo>
                  <a:lnTo>
                    <a:pt x="230" y="2139"/>
                  </a:lnTo>
                  <a:lnTo>
                    <a:pt x="230" y="1832"/>
                  </a:lnTo>
                  <a:close/>
                  <a:moveTo>
                    <a:pt x="230" y="1432"/>
                  </a:moveTo>
                  <a:lnTo>
                    <a:pt x="302" y="1432"/>
                  </a:lnTo>
                  <a:lnTo>
                    <a:pt x="302" y="1739"/>
                  </a:lnTo>
                  <a:lnTo>
                    <a:pt x="230" y="1739"/>
                  </a:lnTo>
                  <a:lnTo>
                    <a:pt x="230" y="1432"/>
                  </a:lnTo>
                  <a:close/>
                  <a:moveTo>
                    <a:pt x="230" y="1031"/>
                  </a:moveTo>
                  <a:lnTo>
                    <a:pt x="302" y="1031"/>
                  </a:lnTo>
                  <a:lnTo>
                    <a:pt x="302" y="1338"/>
                  </a:lnTo>
                  <a:lnTo>
                    <a:pt x="230" y="1338"/>
                  </a:lnTo>
                  <a:lnTo>
                    <a:pt x="230" y="1031"/>
                  </a:lnTo>
                  <a:close/>
                  <a:moveTo>
                    <a:pt x="230" y="630"/>
                  </a:moveTo>
                  <a:lnTo>
                    <a:pt x="302" y="630"/>
                  </a:lnTo>
                  <a:lnTo>
                    <a:pt x="302" y="938"/>
                  </a:lnTo>
                  <a:lnTo>
                    <a:pt x="230" y="938"/>
                  </a:lnTo>
                  <a:lnTo>
                    <a:pt x="230" y="630"/>
                  </a:lnTo>
                  <a:close/>
                  <a:moveTo>
                    <a:pt x="88" y="1832"/>
                  </a:moveTo>
                  <a:lnTo>
                    <a:pt x="160" y="1832"/>
                  </a:lnTo>
                  <a:lnTo>
                    <a:pt x="160" y="2139"/>
                  </a:lnTo>
                  <a:lnTo>
                    <a:pt x="88" y="2139"/>
                  </a:lnTo>
                  <a:lnTo>
                    <a:pt x="88" y="1832"/>
                  </a:lnTo>
                  <a:close/>
                  <a:moveTo>
                    <a:pt x="88" y="1031"/>
                  </a:moveTo>
                  <a:lnTo>
                    <a:pt x="160" y="1031"/>
                  </a:lnTo>
                  <a:lnTo>
                    <a:pt x="160" y="1338"/>
                  </a:lnTo>
                  <a:lnTo>
                    <a:pt x="88" y="1338"/>
                  </a:lnTo>
                  <a:lnTo>
                    <a:pt x="88" y="10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endParaRPr lang="ru-RU"/>
            </a:p>
          </p:txBody>
        </p:sp>
        <p:sp>
          <p:nvSpPr>
            <p:cNvPr id="81" name="îṡḻïḍê">
              <a:extLst>
                <a:ext uri="{FF2B5EF4-FFF2-40B4-BE49-F238E27FC236}">
                  <a16:creationId xmlns="" xmlns:a16="http://schemas.microsoft.com/office/drawing/2014/main" id="{1E1F8511-5F97-4FF3-B89B-BC440295D481}"/>
                </a:ext>
              </a:extLst>
            </p:cNvPr>
            <p:cNvSpPr/>
            <p:nvPr/>
          </p:nvSpPr>
          <p:spPr bwMode="auto">
            <a:xfrm>
              <a:off x="2041526" y="3784600"/>
              <a:ext cx="844550" cy="2338388"/>
            </a:xfrm>
            <a:custGeom>
              <a:avLst/>
              <a:gdLst>
                <a:gd name="T0" fmla="*/ 0 w 532"/>
                <a:gd name="T1" fmla="*/ 384 h 1473"/>
                <a:gd name="T2" fmla="*/ 0 w 532"/>
                <a:gd name="T3" fmla="*/ 1473 h 1473"/>
                <a:gd name="T4" fmla="*/ 532 w 532"/>
                <a:gd name="T5" fmla="*/ 1473 h 1473"/>
                <a:gd name="T6" fmla="*/ 532 w 532"/>
                <a:gd name="T7" fmla="*/ 384 h 1473"/>
                <a:gd name="T8" fmla="*/ 465 w 532"/>
                <a:gd name="T9" fmla="*/ 384 h 1473"/>
                <a:gd name="T10" fmla="*/ 465 w 532"/>
                <a:gd name="T11" fmla="*/ 283 h 1473"/>
                <a:gd name="T12" fmla="*/ 388 w 532"/>
                <a:gd name="T13" fmla="*/ 283 h 1473"/>
                <a:gd name="T14" fmla="*/ 388 w 532"/>
                <a:gd name="T15" fmla="*/ 0 h 1473"/>
                <a:gd name="T16" fmla="*/ 143 w 532"/>
                <a:gd name="T17" fmla="*/ 0 h 1473"/>
                <a:gd name="T18" fmla="*/ 143 w 532"/>
                <a:gd name="T19" fmla="*/ 283 h 1473"/>
                <a:gd name="T20" fmla="*/ 67 w 532"/>
                <a:gd name="T21" fmla="*/ 283 h 1473"/>
                <a:gd name="T22" fmla="*/ 67 w 532"/>
                <a:gd name="T23" fmla="*/ 384 h 1473"/>
                <a:gd name="T24" fmla="*/ 0 w 532"/>
                <a:gd name="T25" fmla="*/ 384 h 1473"/>
                <a:gd name="T26" fmla="*/ 362 w 532"/>
                <a:gd name="T27" fmla="*/ 1029 h 1473"/>
                <a:gd name="T28" fmla="*/ 457 w 532"/>
                <a:gd name="T29" fmla="*/ 1029 h 1473"/>
                <a:gd name="T30" fmla="*/ 457 w 532"/>
                <a:gd name="T31" fmla="*/ 1137 h 1473"/>
                <a:gd name="T32" fmla="*/ 362 w 532"/>
                <a:gd name="T33" fmla="*/ 1137 h 1473"/>
                <a:gd name="T34" fmla="*/ 362 w 532"/>
                <a:gd name="T35" fmla="*/ 1029 h 1473"/>
                <a:gd name="T36" fmla="*/ 362 w 532"/>
                <a:gd name="T37" fmla="*/ 681 h 1473"/>
                <a:gd name="T38" fmla="*/ 457 w 532"/>
                <a:gd name="T39" fmla="*/ 681 h 1473"/>
                <a:gd name="T40" fmla="*/ 457 w 532"/>
                <a:gd name="T41" fmla="*/ 792 h 1473"/>
                <a:gd name="T42" fmla="*/ 362 w 532"/>
                <a:gd name="T43" fmla="*/ 792 h 1473"/>
                <a:gd name="T44" fmla="*/ 362 w 532"/>
                <a:gd name="T45" fmla="*/ 681 h 1473"/>
                <a:gd name="T46" fmla="*/ 362 w 532"/>
                <a:gd name="T47" fmla="*/ 509 h 1473"/>
                <a:gd name="T48" fmla="*/ 457 w 532"/>
                <a:gd name="T49" fmla="*/ 509 h 1473"/>
                <a:gd name="T50" fmla="*/ 457 w 532"/>
                <a:gd name="T51" fmla="*/ 619 h 1473"/>
                <a:gd name="T52" fmla="*/ 362 w 532"/>
                <a:gd name="T53" fmla="*/ 619 h 1473"/>
                <a:gd name="T54" fmla="*/ 362 w 532"/>
                <a:gd name="T55" fmla="*/ 509 h 1473"/>
                <a:gd name="T56" fmla="*/ 218 w 532"/>
                <a:gd name="T57" fmla="*/ 854 h 1473"/>
                <a:gd name="T58" fmla="*/ 314 w 532"/>
                <a:gd name="T59" fmla="*/ 854 h 1473"/>
                <a:gd name="T60" fmla="*/ 314 w 532"/>
                <a:gd name="T61" fmla="*/ 964 h 1473"/>
                <a:gd name="T62" fmla="*/ 218 w 532"/>
                <a:gd name="T63" fmla="*/ 964 h 1473"/>
                <a:gd name="T64" fmla="*/ 218 w 532"/>
                <a:gd name="T65" fmla="*/ 854 h 1473"/>
                <a:gd name="T66" fmla="*/ 218 w 532"/>
                <a:gd name="T67" fmla="*/ 681 h 1473"/>
                <a:gd name="T68" fmla="*/ 314 w 532"/>
                <a:gd name="T69" fmla="*/ 681 h 1473"/>
                <a:gd name="T70" fmla="*/ 314 w 532"/>
                <a:gd name="T71" fmla="*/ 792 h 1473"/>
                <a:gd name="T72" fmla="*/ 218 w 532"/>
                <a:gd name="T73" fmla="*/ 792 h 1473"/>
                <a:gd name="T74" fmla="*/ 218 w 532"/>
                <a:gd name="T75" fmla="*/ 681 h 1473"/>
                <a:gd name="T76" fmla="*/ 218 w 532"/>
                <a:gd name="T77" fmla="*/ 509 h 1473"/>
                <a:gd name="T78" fmla="*/ 314 w 532"/>
                <a:gd name="T79" fmla="*/ 509 h 1473"/>
                <a:gd name="T80" fmla="*/ 314 w 532"/>
                <a:gd name="T81" fmla="*/ 619 h 1473"/>
                <a:gd name="T82" fmla="*/ 218 w 532"/>
                <a:gd name="T83" fmla="*/ 619 h 1473"/>
                <a:gd name="T84" fmla="*/ 218 w 532"/>
                <a:gd name="T85" fmla="*/ 509 h 1473"/>
                <a:gd name="T86" fmla="*/ 74 w 532"/>
                <a:gd name="T87" fmla="*/ 1029 h 1473"/>
                <a:gd name="T88" fmla="*/ 170 w 532"/>
                <a:gd name="T89" fmla="*/ 1029 h 1473"/>
                <a:gd name="T90" fmla="*/ 170 w 532"/>
                <a:gd name="T91" fmla="*/ 1137 h 1473"/>
                <a:gd name="T92" fmla="*/ 74 w 532"/>
                <a:gd name="T93" fmla="*/ 1137 h 1473"/>
                <a:gd name="T94" fmla="*/ 74 w 532"/>
                <a:gd name="T95" fmla="*/ 1029 h 1473"/>
                <a:gd name="T96" fmla="*/ 74 w 532"/>
                <a:gd name="T97" fmla="*/ 854 h 1473"/>
                <a:gd name="T98" fmla="*/ 170 w 532"/>
                <a:gd name="T99" fmla="*/ 854 h 1473"/>
                <a:gd name="T100" fmla="*/ 170 w 532"/>
                <a:gd name="T101" fmla="*/ 964 h 1473"/>
                <a:gd name="T102" fmla="*/ 74 w 532"/>
                <a:gd name="T103" fmla="*/ 964 h 1473"/>
                <a:gd name="T104" fmla="*/ 74 w 532"/>
                <a:gd name="T105" fmla="*/ 854 h 1473"/>
                <a:gd name="T106" fmla="*/ 74 w 532"/>
                <a:gd name="T107" fmla="*/ 681 h 1473"/>
                <a:gd name="T108" fmla="*/ 170 w 532"/>
                <a:gd name="T109" fmla="*/ 681 h 1473"/>
                <a:gd name="T110" fmla="*/ 170 w 532"/>
                <a:gd name="T111" fmla="*/ 792 h 1473"/>
                <a:gd name="T112" fmla="*/ 74 w 532"/>
                <a:gd name="T113" fmla="*/ 792 h 1473"/>
                <a:gd name="T114" fmla="*/ 74 w 532"/>
                <a:gd name="T115" fmla="*/ 681 h 14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532" h="1473">
                  <a:moveTo>
                    <a:pt x="0" y="384"/>
                  </a:moveTo>
                  <a:lnTo>
                    <a:pt x="0" y="1473"/>
                  </a:lnTo>
                  <a:lnTo>
                    <a:pt x="532" y="1473"/>
                  </a:lnTo>
                  <a:lnTo>
                    <a:pt x="532" y="384"/>
                  </a:lnTo>
                  <a:lnTo>
                    <a:pt x="465" y="384"/>
                  </a:lnTo>
                  <a:lnTo>
                    <a:pt x="465" y="283"/>
                  </a:lnTo>
                  <a:lnTo>
                    <a:pt x="388" y="283"/>
                  </a:lnTo>
                  <a:lnTo>
                    <a:pt x="388" y="0"/>
                  </a:lnTo>
                  <a:lnTo>
                    <a:pt x="143" y="0"/>
                  </a:lnTo>
                  <a:lnTo>
                    <a:pt x="143" y="283"/>
                  </a:lnTo>
                  <a:lnTo>
                    <a:pt x="67" y="283"/>
                  </a:lnTo>
                  <a:lnTo>
                    <a:pt x="67" y="384"/>
                  </a:lnTo>
                  <a:lnTo>
                    <a:pt x="0" y="384"/>
                  </a:lnTo>
                  <a:close/>
                  <a:moveTo>
                    <a:pt x="362" y="1029"/>
                  </a:moveTo>
                  <a:lnTo>
                    <a:pt x="457" y="1029"/>
                  </a:lnTo>
                  <a:lnTo>
                    <a:pt x="457" y="1137"/>
                  </a:lnTo>
                  <a:lnTo>
                    <a:pt x="362" y="1137"/>
                  </a:lnTo>
                  <a:lnTo>
                    <a:pt x="362" y="1029"/>
                  </a:lnTo>
                  <a:close/>
                  <a:moveTo>
                    <a:pt x="362" y="681"/>
                  </a:moveTo>
                  <a:lnTo>
                    <a:pt x="457" y="681"/>
                  </a:lnTo>
                  <a:lnTo>
                    <a:pt x="457" y="792"/>
                  </a:lnTo>
                  <a:lnTo>
                    <a:pt x="362" y="792"/>
                  </a:lnTo>
                  <a:lnTo>
                    <a:pt x="362" y="681"/>
                  </a:lnTo>
                  <a:close/>
                  <a:moveTo>
                    <a:pt x="362" y="509"/>
                  </a:moveTo>
                  <a:lnTo>
                    <a:pt x="457" y="509"/>
                  </a:lnTo>
                  <a:lnTo>
                    <a:pt x="457" y="619"/>
                  </a:lnTo>
                  <a:lnTo>
                    <a:pt x="362" y="619"/>
                  </a:lnTo>
                  <a:lnTo>
                    <a:pt x="362" y="509"/>
                  </a:lnTo>
                  <a:close/>
                  <a:moveTo>
                    <a:pt x="218" y="854"/>
                  </a:moveTo>
                  <a:lnTo>
                    <a:pt x="314" y="854"/>
                  </a:lnTo>
                  <a:lnTo>
                    <a:pt x="314" y="964"/>
                  </a:lnTo>
                  <a:lnTo>
                    <a:pt x="218" y="964"/>
                  </a:lnTo>
                  <a:lnTo>
                    <a:pt x="218" y="854"/>
                  </a:lnTo>
                  <a:close/>
                  <a:moveTo>
                    <a:pt x="218" y="681"/>
                  </a:moveTo>
                  <a:lnTo>
                    <a:pt x="314" y="681"/>
                  </a:lnTo>
                  <a:lnTo>
                    <a:pt x="314" y="792"/>
                  </a:lnTo>
                  <a:lnTo>
                    <a:pt x="218" y="792"/>
                  </a:lnTo>
                  <a:lnTo>
                    <a:pt x="218" y="681"/>
                  </a:lnTo>
                  <a:close/>
                  <a:moveTo>
                    <a:pt x="218" y="509"/>
                  </a:moveTo>
                  <a:lnTo>
                    <a:pt x="314" y="509"/>
                  </a:lnTo>
                  <a:lnTo>
                    <a:pt x="314" y="619"/>
                  </a:lnTo>
                  <a:lnTo>
                    <a:pt x="218" y="619"/>
                  </a:lnTo>
                  <a:lnTo>
                    <a:pt x="218" y="509"/>
                  </a:lnTo>
                  <a:close/>
                  <a:moveTo>
                    <a:pt x="74" y="1029"/>
                  </a:moveTo>
                  <a:lnTo>
                    <a:pt x="170" y="1029"/>
                  </a:lnTo>
                  <a:lnTo>
                    <a:pt x="170" y="1137"/>
                  </a:lnTo>
                  <a:lnTo>
                    <a:pt x="74" y="1137"/>
                  </a:lnTo>
                  <a:lnTo>
                    <a:pt x="74" y="1029"/>
                  </a:lnTo>
                  <a:close/>
                  <a:moveTo>
                    <a:pt x="74" y="854"/>
                  </a:moveTo>
                  <a:lnTo>
                    <a:pt x="170" y="854"/>
                  </a:lnTo>
                  <a:lnTo>
                    <a:pt x="170" y="964"/>
                  </a:lnTo>
                  <a:lnTo>
                    <a:pt x="74" y="964"/>
                  </a:lnTo>
                  <a:lnTo>
                    <a:pt x="74" y="854"/>
                  </a:lnTo>
                  <a:close/>
                  <a:moveTo>
                    <a:pt x="74" y="681"/>
                  </a:moveTo>
                  <a:lnTo>
                    <a:pt x="170" y="681"/>
                  </a:lnTo>
                  <a:lnTo>
                    <a:pt x="170" y="792"/>
                  </a:lnTo>
                  <a:lnTo>
                    <a:pt x="74" y="792"/>
                  </a:lnTo>
                  <a:lnTo>
                    <a:pt x="74" y="68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endParaRPr lang="ru-RU"/>
            </a:p>
          </p:txBody>
        </p:sp>
        <p:sp>
          <p:nvSpPr>
            <p:cNvPr id="82" name="iṧlïḋe">
              <a:extLst>
                <a:ext uri="{FF2B5EF4-FFF2-40B4-BE49-F238E27FC236}">
                  <a16:creationId xmlns="" xmlns:a16="http://schemas.microsoft.com/office/drawing/2014/main" id="{E5C31136-9518-488D-A7BA-0E92E84E8BE9}"/>
                </a:ext>
              </a:extLst>
            </p:cNvPr>
            <p:cNvSpPr/>
            <p:nvPr/>
          </p:nvSpPr>
          <p:spPr bwMode="auto">
            <a:xfrm>
              <a:off x="4940301" y="3128963"/>
              <a:ext cx="846138" cy="2994025"/>
            </a:xfrm>
            <a:custGeom>
              <a:avLst/>
              <a:gdLst>
                <a:gd name="T0" fmla="*/ 0 w 533"/>
                <a:gd name="T1" fmla="*/ 1886 h 1886"/>
                <a:gd name="T2" fmla="*/ 533 w 533"/>
                <a:gd name="T3" fmla="*/ 92 h 1886"/>
                <a:gd name="T4" fmla="*/ 487 w 533"/>
                <a:gd name="T5" fmla="*/ 0 h 1886"/>
                <a:gd name="T6" fmla="*/ 202 w 533"/>
                <a:gd name="T7" fmla="*/ 92 h 1886"/>
                <a:gd name="T8" fmla="*/ 310 w 533"/>
                <a:gd name="T9" fmla="*/ 1466 h 1886"/>
                <a:gd name="T10" fmla="*/ 456 w 533"/>
                <a:gd name="T11" fmla="*/ 1517 h 1886"/>
                <a:gd name="T12" fmla="*/ 310 w 533"/>
                <a:gd name="T13" fmla="*/ 1466 h 1886"/>
                <a:gd name="T14" fmla="*/ 456 w 533"/>
                <a:gd name="T15" fmla="*/ 1346 h 1886"/>
                <a:gd name="T16" fmla="*/ 310 w 533"/>
                <a:gd name="T17" fmla="*/ 1397 h 1886"/>
                <a:gd name="T18" fmla="*/ 310 w 533"/>
                <a:gd name="T19" fmla="*/ 1226 h 1886"/>
                <a:gd name="T20" fmla="*/ 456 w 533"/>
                <a:gd name="T21" fmla="*/ 1277 h 1886"/>
                <a:gd name="T22" fmla="*/ 310 w 533"/>
                <a:gd name="T23" fmla="*/ 1226 h 1886"/>
                <a:gd name="T24" fmla="*/ 456 w 533"/>
                <a:gd name="T25" fmla="*/ 1106 h 1886"/>
                <a:gd name="T26" fmla="*/ 310 w 533"/>
                <a:gd name="T27" fmla="*/ 1157 h 1886"/>
                <a:gd name="T28" fmla="*/ 310 w 533"/>
                <a:gd name="T29" fmla="*/ 866 h 1886"/>
                <a:gd name="T30" fmla="*/ 456 w 533"/>
                <a:gd name="T31" fmla="*/ 917 h 1886"/>
                <a:gd name="T32" fmla="*/ 310 w 533"/>
                <a:gd name="T33" fmla="*/ 866 h 1886"/>
                <a:gd name="T34" fmla="*/ 456 w 533"/>
                <a:gd name="T35" fmla="*/ 747 h 1886"/>
                <a:gd name="T36" fmla="*/ 310 w 533"/>
                <a:gd name="T37" fmla="*/ 797 h 1886"/>
                <a:gd name="T38" fmla="*/ 310 w 533"/>
                <a:gd name="T39" fmla="*/ 627 h 1886"/>
                <a:gd name="T40" fmla="*/ 456 w 533"/>
                <a:gd name="T41" fmla="*/ 677 h 1886"/>
                <a:gd name="T42" fmla="*/ 310 w 533"/>
                <a:gd name="T43" fmla="*/ 627 h 1886"/>
                <a:gd name="T44" fmla="*/ 456 w 533"/>
                <a:gd name="T45" fmla="*/ 507 h 1886"/>
                <a:gd name="T46" fmla="*/ 310 w 533"/>
                <a:gd name="T47" fmla="*/ 557 h 1886"/>
                <a:gd name="T48" fmla="*/ 310 w 533"/>
                <a:gd name="T49" fmla="*/ 267 h 1886"/>
                <a:gd name="T50" fmla="*/ 456 w 533"/>
                <a:gd name="T51" fmla="*/ 317 h 1886"/>
                <a:gd name="T52" fmla="*/ 310 w 533"/>
                <a:gd name="T53" fmla="*/ 267 h 1886"/>
                <a:gd name="T54" fmla="*/ 223 w 533"/>
                <a:gd name="T55" fmla="*/ 1586 h 1886"/>
                <a:gd name="T56" fmla="*/ 77 w 533"/>
                <a:gd name="T57" fmla="*/ 1637 h 1886"/>
                <a:gd name="T58" fmla="*/ 77 w 533"/>
                <a:gd name="T59" fmla="*/ 1466 h 1886"/>
                <a:gd name="T60" fmla="*/ 223 w 533"/>
                <a:gd name="T61" fmla="*/ 1517 h 1886"/>
                <a:gd name="T62" fmla="*/ 77 w 533"/>
                <a:gd name="T63" fmla="*/ 1466 h 1886"/>
                <a:gd name="T64" fmla="*/ 223 w 533"/>
                <a:gd name="T65" fmla="*/ 1226 h 1886"/>
                <a:gd name="T66" fmla="*/ 77 w 533"/>
                <a:gd name="T67" fmla="*/ 1277 h 1886"/>
                <a:gd name="T68" fmla="*/ 77 w 533"/>
                <a:gd name="T69" fmla="*/ 986 h 1886"/>
                <a:gd name="T70" fmla="*/ 223 w 533"/>
                <a:gd name="T71" fmla="*/ 1037 h 1886"/>
                <a:gd name="T72" fmla="*/ 77 w 533"/>
                <a:gd name="T73" fmla="*/ 986 h 1886"/>
                <a:gd name="T74" fmla="*/ 223 w 533"/>
                <a:gd name="T75" fmla="*/ 866 h 1886"/>
                <a:gd name="T76" fmla="*/ 77 w 533"/>
                <a:gd name="T77" fmla="*/ 917 h 1886"/>
                <a:gd name="T78" fmla="*/ 77 w 533"/>
                <a:gd name="T79" fmla="*/ 627 h 1886"/>
                <a:gd name="T80" fmla="*/ 223 w 533"/>
                <a:gd name="T81" fmla="*/ 677 h 1886"/>
                <a:gd name="T82" fmla="*/ 77 w 533"/>
                <a:gd name="T83" fmla="*/ 627 h 1886"/>
                <a:gd name="T84" fmla="*/ 223 w 533"/>
                <a:gd name="T85" fmla="*/ 387 h 1886"/>
                <a:gd name="T86" fmla="*/ 77 w 533"/>
                <a:gd name="T87" fmla="*/ 437 h 1886"/>
                <a:gd name="T88" fmla="*/ 77 w 533"/>
                <a:gd name="T89" fmla="*/ 267 h 1886"/>
                <a:gd name="T90" fmla="*/ 223 w 533"/>
                <a:gd name="T91" fmla="*/ 317 h 1886"/>
                <a:gd name="T92" fmla="*/ 77 w 533"/>
                <a:gd name="T93" fmla="*/ 267 h 1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33" h="1886">
                  <a:moveTo>
                    <a:pt x="0" y="92"/>
                  </a:moveTo>
                  <a:lnTo>
                    <a:pt x="0" y="1886"/>
                  </a:lnTo>
                  <a:lnTo>
                    <a:pt x="533" y="1886"/>
                  </a:lnTo>
                  <a:lnTo>
                    <a:pt x="533" y="92"/>
                  </a:lnTo>
                  <a:lnTo>
                    <a:pt x="487" y="92"/>
                  </a:lnTo>
                  <a:lnTo>
                    <a:pt x="487" y="0"/>
                  </a:lnTo>
                  <a:lnTo>
                    <a:pt x="202" y="0"/>
                  </a:lnTo>
                  <a:lnTo>
                    <a:pt x="202" y="92"/>
                  </a:lnTo>
                  <a:lnTo>
                    <a:pt x="0" y="92"/>
                  </a:lnTo>
                  <a:close/>
                  <a:moveTo>
                    <a:pt x="310" y="1466"/>
                  </a:moveTo>
                  <a:lnTo>
                    <a:pt x="456" y="1466"/>
                  </a:lnTo>
                  <a:lnTo>
                    <a:pt x="456" y="1517"/>
                  </a:lnTo>
                  <a:lnTo>
                    <a:pt x="310" y="1517"/>
                  </a:lnTo>
                  <a:lnTo>
                    <a:pt x="310" y="1466"/>
                  </a:lnTo>
                  <a:close/>
                  <a:moveTo>
                    <a:pt x="310" y="1346"/>
                  </a:moveTo>
                  <a:lnTo>
                    <a:pt x="456" y="1346"/>
                  </a:lnTo>
                  <a:lnTo>
                    <a:pt x="456" y="1397"/>
                  </a:lnTo>
                  <a:lnTo>
                    <a:pt x="310" y="1397"/>
                  </a:lnTo>
                  <a:lnTo>
                    <a:pt x="310" y="1346"/>
                  </a:lnTo>
                  <a:close/>
                  <a:moveTo>
                    <a:pt x="310" y="1226"/>
                  </a:moveTo>
                  <a:lnTo>
                    <a:pt x="456" y="1226"/>
                  </a:lnTo>
                  <a:lnTo>
                    <a:pt x="456" y="1277"/>
                  </a:lnTo>
                  <a:lnTo>
                    <a:pt x="310" y="1277"/>
                  </a:lnTo>
                  <a:lnTo>
                    <a:pt x="310" y="1226"/>
                  </a:lnTo>
                  <a:close/>
                  <a:moveTo>
                    <a:pt x="310" y="1106"/>
                  </a:moveTo>
                  <a:lnTo>
                    <a:pt x="456" y="1106"/>
                  </a:lnTo>
                  <a:lnTo>
                    <a:pt x="456" y="1157"/>
                  </a:lnTo>
                  <a:lnTo>
                    <a:pt x="310" y="1157"/>
                  </a:lnTo>
                  <a:lnTo>
                    <a:pt x="310" y="1106"/>
                  </a:lnTo>
                  <a:close/>
                  <a:moveTo>
                    <a:pt x="310" y="866"/>
                  </a:moveTo>
                  <a:lnTo>
                    <a:pt x="456" y="866"/>
                  </a:lnTo>
                  <a:lnTo>
                    <a:pt x="456" y="917"/>
                  </a:lnTo>
                  <a:lnTo>
                    <a:pt x="310" y="917"/>
                  </a:lnTo>
                  <a:lnTo>
                    <a:pt x="310" y="866"/>
                  </a:lnTo>
                  <a:close/>
                  <a:moveTo>
                    <a:pt x="310" y="747"/>
                  </a:moveTo>
                  <a:lnTo>
                    <a:pt x="456" y="747"/>
                  </a:lnTo>
                  <a:lnTo>
                    <a:pt x="456" y="797"/>
                  </a:lnTo>
                  <a:lnTo>
                    <a:pt x="310" y="797"/>
                  </a:lnTo>
                  <a:lnTo>
                    <a:pt x="310" y="747"/>
                  </a:lnTo>
                  <a:close/>
                  <a:moveTo>
                    <a:pt x="310" y="627"/>
                  </a:moveTo>
                  <a:lnTo>
                    <a:pt x="456" y="627"/>
                  </a:lnTo>
                  <a:lnTo>
                    <a:pt x="456" y="677"/>
                  </a:lnTo>
                  <a:lnTo>
                    <a:pt x="310" y="677"/>
                  </a:lnTo>
                  <a:lnTo>
                    <a:pt x="310" y="627"/>
                  </a:lnTo>
                  <a:close/>
                  <a:moveTo>
                    <a:pt x="310" y="507"/>
                  </a:moveTo>
                  <a:lnTo>
                    <a:pt x="456" y="507"/>
                  </a:lnTo>
                  <a:lnTo>
                    <a:pt x="456" y="557"/>
                  </a:lnTo>
                  <a:lnTo>
                    <a:pt x="310" y="557"/>
                  </a:lnTo>
                  <a:lnTo>
                    <a:pt x="310" y="507"/>
                  </a:lnTo>
                  <a:close/>
                  <a:moveTo>
                    <a:pt x="310" y="267"/>
                  </a:moveTo>
                  <a:lnTo>
                    <a:pt x="456" y="267"/>
                  </a:lnTo>
                  <a:lnTo>
                    <a:pt x="456" y="317"/>
                  </a:lnTo>
                  <a:lnTo>
                    <a:pt x="310" y="317"/>
                  </a:lnTo>
                  <a:lnTo>
                    <a:pt x="310" y="267"/>
                  </a:lnTo>
                  <a:close/>
                  <a:moveTo>
                    <a:pt x="77" y="1586"/>
                  </a:moveTo>
                  <a:lnTo>
                    <a:pt x="223" y="1586"/>
                  </a:lnTo>
                  <a:lnTo>
                    <a:pt x="223" y="1637"/>
                  </a:lnTo>
                  <a:lnTo>
                    <a:pt x="77" y="1637"/>
                  </a:lnTo>
                  <a:lnTo>
                    <a:pt x="77" y="1586"/>
                  </a:lnTo>
                  <a:close/>
                  <a:moveTo>
                    <a:pt x="77" y="1466"/>
                  </a:moveTo>
                  <a:lnTo>
                    <a:pt x="223" y="1466"/>
                  </a:lnTo>
                  <a:lnTo>
                    <a:pt x="223" y="1517"/>
                  </a:lnTo>
                  <a:lnTo>
                    <a:pt x="77" y="1517"/>
                  </a:lnTo>
                  <a:lnTo>
                    <a:pt x="77" y="1466"/>
                  </a:lnTo>
                  <a:close/>
                  <a:moveTo>
                    <a:pt x="77" y="1226"/>
                  </a:moveTo>
                  <a:lnTo>
                    <a:pt x="223" y="1226"/>
                  </a:lnTo>
                  <a:lnTo>
                    <a:pt x="223" y="1277"/>
                  </a:lnTo>
                  <a:lnTo>
                    <a:pt x="77" y="1277"/>
                  </a:lnTo>
                  <a:lnTo>
                    <a:pt x="77" y="1226"/>
                  </a:lnTo>
                  <a:close/>
                  <a:moveTo>
                    <a:pt x="77" y="986"/>
                  </a:moveTo>
                  <a:lnTo>
                    <a:pt x="223" y="986"/>
                  </a:lnTo>
                  <a:lnTo>
                    <a:pt x="223" y="1037"/>
                  </a:lnTo>
                  <a:lnTo>
                    <a:pt x="77" y="1037"/>
                  </a:lnTo>
                  <a:lnTo>
                    <a:pt x="77" y="986"/>
                  </a:lnTo>
                  <a:close/>
                  <a:moveTo>
                    <a:pt x="77" y="866"/>
                  </a:moveTo>
                  <a:lnTo>
                    <a:pt x="223" y="866"/>
                  </a:lnTo>
                  <a:lnTo>
                    <a:pt x="223" y="917"/>
                  </a:lnTo>
                  <a:lnTo>
                    <a:pt x="77" y="917"/>
                  </a:lnTo>
                  <a:lnTo>
                    <a:pt x="77" y="866"/>
                  </a:lnTo>
                  <a:close/>
                  <a:moveTo>
                    <a:pt x="77" y="627"/>
                  </a:moveTo>
                  <a:lnTo>
                    <a:pt x="223" y="627"/>
                  </a:lnTo>
                  <a:lnTo>
                    <a:pt x="223" y="677"/>
                  </a:lnTo>
                  <a:lnTo>
                    <a:pt x="77" y="677"/>
                  </a:lnTo>
                  <a:lnTo>
                    <a:pt x="77" y="627"/>
                  </a:lnTo>
                  <a:close/>
                  <a:moveTo>
                    <a:pt x="77" y="387"/>
                  </a:moveTo>
                  <a:lnTo>
                    <a:pt x="223" y="387"/>
                  </a:lnTo>
                  <a:lnTo>
                    <a:pt x="223" y="437"/>
                  </a:lnTo>
                  <a:lnTo>
                    <a:pt x="77" y="437"/>
                  </a:lnTo>
                  <a:lnTo>
                    <a:pt x="77" y="387"/>
                  </a:lnTo>
                  <a:close/>
                  <a:moveTo>
                    <a:pt x="77" y="267"/>
                  </a:moveTo>
                  <a:lnTo>
                    <a:pt x="223" y="267"/>
                  </a:lnTo>
                  <a:lnTo>
                    <a:pt x="223" y="317"/>
                  </a:lnTo>
                  <a:lnTo>
                    <a:pt x="77" y="317"/>
                  </a:lnTo>
                  <a:lnTo>
                    <a:pt x="77" y="26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endParaRPr lang="ru-RU"/>
            </a:p>
          </p:txBody>
        </p:sp>
        <p:sp>
          <p:nvSpPr>
            <p:cNvPr id="83" name="íS1ïďe">
              <a:extLst>
                <a:ext uri="{FF2B5EF4-FFF2-40B4-BE49-F238E27FC236}">
                  <a16:creationId xmlns="" xmlns:a16="http://schemas.microsoft.com/office/drawing/2014/main" id="{F9ECF5B2-A10D-4961-AAA2-4270EBBF1233}"/>
                </a:ext>
              </a:extLst>
            </p:cNvPr>
            <p:cNvSpPr/>
            <p:nvPr/>
          </p:nvSpPr>
          <p:spPr bwMode="auto">
            <a:xfrm>
              <a:off x="3973513" y="3460750"/>
              <a:ext cx="846138" cy="2662238"/>
            </a:xfrm>
            <a:custGeom>
              <a:avLst/>
              <a:gdLst>
                <a:gd name="T0" fmla="*/ 0 w 533"/>
                <a:gd name="T1" fmla="*/ 1677 h 1677"/>
                <a:gd name="T2" fmla="*/ 533 w 533"/>
                <a:gd name="T3" fmla="*/ 204 h 1677"/>
                <a:gd name="T4" fmla="*/ 437 w 533"/>
                <a:gd name="T5" fmla="*/ 0 h 1677"/>
                <a:gd name="T6" fmla="*/ 329 w 533"/>
                <a:gd name="T7" fmla="*/ 204 h 1677"/>
                <a:gd name="T8" fmla="*/ 401 w 533"/>
                <a:gd name="T9" fmla="*/ 1252 h 1677"/>
                <a:gd name="T10" fmla="*/ 473 w 533"/>
                <a:gd name="T11" fmla="*/ 1324 h 1677"/>
                <a:gd name="T12" fmla="*/ 401 w 533"/>
                <a:gd name="T13" fmla="*/ 1252 h 1677"/>
                <a:gd name="T14" fmla="*/ 473 w 533"/>
                <a:gd name="T15" fmla="*/ 1104 h 1677"/>
                <a:gd name="T16" fmla="*/ 401 w 533"/>
                <a:gd name="T17" fmla="*/ 1176 h 1677"/>
                <a:gd name="T18" fmla="*/ 401 w 533"/>
                <a:gd name="T19" fmla="*/ 957 h 1677"/>
                <a:gd name="T20" fmla="*/ 473 w 533"/>
                <a:gd name="T21" fmla="*/ 1029 h 1677"/>
                <a:gd name="T22" fmla="*/ 401 w 533"/>
                <a:gd name="T23" fmla="*/ 957 h 1677"/>
                <a:gd name="T24" fmla="*/ 473 w 533"/>
                <a:gd name="T25" fmla="*/ 811 h 1677"/>
                <a:gd name="T26" fmla="*/ 401 w 533"/>
                <a:gd name="T27" fmla="*/ 883 h 1677"/>
                <a:gd name="T28" fmla="*/ 401 w 533"/>
                <a:gd name="T29" fmla="*/ 662 h 1677"/>
                <a:gd name="T30" fmla="*/ 473 w 533"/>
                <a:gd name="T31" fmla="*/ 734 h 1677"/>
                <a:gd name="T32" fmla="*/ 401 w 533"/>
                <a:gd name="T33" fmla="*/ 662 h 1677"/>
                <a:gd name="T34" fmla="*/ 473 w 533"/>
                <a:gd name="T35" fmla="*/ 516 h 1677"/>
                <a:gd name="T36" fmla="*/ 401 w 533"/>
                <a:gd name="T37" fmla="*/ 588 h 1677"/>
                <a:gd name="T38" fmla="*/ 288 w 533"/>
                <a:gd name="T39" fmla="*/ 1104 h 1677"/>
                <a:gd name="T40" fmla="*/ 360 w 533"/>
                <a:gd name="T41" fmla="*/ 1176 h 1677"/>
                <a:gd name="T42" fmla="*/ 288 w 533"/>
                <a:gd name="T43" fmla="*/ 1104 h 1677"/>
                <a:gd name="T44" fmla="*/ 360 w 533"/>
                <a:gd name="T45" fmla="*/ 957 h 1677"/>
                <a:gd name="T46" fmla="*/ 288 w 533"/>
                <a:gd name="T47" fmla="*/ 1029 h 1677"/>
                <a:gd name="T48" fmla="*/ 288 w 533"/>
                <a:gd name="T49" fmla="*/ 662 h 1677"/>
                <a:gd name="T50" fmla="*/ 360 w 533"/>
                <a:gd name="T51" fmla="*/ 734 h 1677"/>
                <a:gd name="T52" fmla="*/ 288 w 533"/>
                <a:gd name="T53" fmla="*/ 662 h 1677"/>
                <a:gd name="T54" fmla="*/ 360 w 533"/>
                <a:gd name="T55" fmla="*/ 516 h 1677"/>
                <a:gd name="T56" fmla="*/ 288 w 533"/>
                <a:gd name="T57" fmla="*/ 588 h 1677"/>
                <a:gd name="T58" fmla="*/ 288 w 533"/>
                <a:gd name="T59" fmla="*/ 370 h 1677"/>
                <a:gd name="T60" fmla="*/ 360 w 533"/>
                <a:gd name="T61" fmla="*/ 442 h 1677"/>
                <a:gd name="T62" fmla="*/ 288 w 533"/>
                <a:gd name="T63" fmla="*/ 370 h 1677"/>
                <a:gd name="T64" fmla="*/ 245 w 533"/>
                <a:gd name="T65" fmla="*/ 1252 h 1677"/>
                <a:gd name="T66" fmla="*/ 173 w 533"/>
                <a:gd name="T67" fmla="*/ 1324 h 1677"/>
                <a:gd name="T68" fmla="*/ 173 w 533"/>
                <a:gd name="T69" fmla="*/ 1104 h 1677"/>
                <a:gd name="T70" fmla="*/ 245 w 533"/>
                <a:gd name="T71" fmla="*/ 1176 h 1677"/>
                <a:gd name="T72" fmla="*/ 173 w 533"/>
                <a:gd name="T73" fmla="*/ 1104 h 1677"/>
                <a:gd name="T74" fmla="*/ 245 w 533"/>
                <a:gd name="T75" fmla="*/ 811 h 1677"/>
                <a:gd name="T76" fmla="*/ 173 w 533"/>
                <a:gd name="T77" fmla="*/ 883 h 1677"/>
                <a:gd name="T78" fmla="*/ 173 w 533"/>
                <a:gd name="T79" fmla="*/ 662 h 1677"/>
                <a:gd name="T80" fmla="*/ 245 w 533"/>
                <a:gd name="T81" fmla="*/ 734 h 1677"/>
                <a:gd name="T82" fmla="*/ 173 w 533"/>
                <a:gd name="T83" fmla="*/ 662 h 1677"/>
                <a:gd name="T84" fmla="*/ 245 w 533"/>
                <a:gd name="T85" fmla="*/ 516 h 1677"/>
                <a:gd name="T86" fmla="*/ 173 w 533"/>
                <a:gd name="T87" fmla="*/ 588 h 1677"/>
                <a:gd name="T88" fmla="*/ 173 w 533"/>
                <a:gd name="T89" fmla="*/ 370 h 1677"/>
                <a:gd name="T90" fmla="*/ 245 w 533"/>
                <a:gd name="T91" fmla="*/ 442 h 1677"/>
                <a:gd name="T92" fmla="*/ 173 w 533"/>
                <a:gd name="T93" fmla="*/ 370 h 1677"/>
                <a:gd name="T94" fmla="*/ 132 w 533"/>
                <a:gd name="T95" fmla="*/ 1252 h 1677"/>
                <a:gd name="T96" fmla="*/ 60 w 533"/>
                <a:gd name="T97" fmla="*/ 1324 h 1677"/>
                <a:gd name="T98" fmla="*/ 60 w 533"/>
                <a:gd name="T99" fmla="*/ 1104 h 1677"/>
                <a:gd name="T100" fmla="*/ 132 w 533"/>
                <a:gd name="T101" fmla="*/ 1176 h 1677"/>
                <a:gd name="T102" fmla="*/ 60 w 533"/>
                <a:gd name="T103" fmla="*/ 1104 h 1677"/>
                <a:gd name="T104" fmla="*/ 132 w 533"/>
                <a:gd name="T105" fmla="*/ 957 h 1677"/>
                <a:gd name="T106" fmla="*/ 60 w 533"/>
                <a:gd name="T107" fmla="*/ 1029 h 1677"/>
                <a:gd name="T108" fmla="*/ 60 w 533"/>
                <a:gd name="T109" fmla="*/ 811 h 1677"/>
                <a:gd name="T110" fmla="*/ 132 w 533"/>
                <a:gd name="T111" fmla="*/ 883 h 1677"/>
                <a:gd name="T112" fmla="*/ 60 w 533"/>
                <a:gd name="T113" fmla="*/ 811 h 1677"/>
                <a:gd name="T114" fmla="*/ 132 w 533"/>
                <a:gd name="T115" fmla="*/ 516 h 1677"/>
                <a:gd name="T116" fmla="*/ 60 w 533"/>
                <a:gd name="T117" fmla="*/ 588 h 16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533" h="1677">
                  <a:moveTo>
                    <a:pt x="0" y="204"/>
                  </a:moveTo>
                  <a:lnTo>
                    <a:pt x="0" y="1677"/>
                  </a:lnTo>
                  <a:lnTo>
                    <a:pt x="533" y="1677"/>
                  </a:lnTo>
                  <a:lnTo>
                    <a:pt x="533" y="204"/>
                  </a:lnTo>
                  <a:lnTo>
                    <a:pt x="437" y="204"/>
                  </a:lnTo>
                  <a:lnTo>
                    <a:pt x="437" y="0"/>
                  </a:lnTo>
                  <a:lnTo>
                    <a:pt x="329" y="0"/>
                  </a:lnTo>
                  <a:lnTo>
                    <a:pt x="329" y="204"/>
                  </a:lnTo>
                  <a:lnTo>
                    <a:pt x="0" y="204"/>
                  </a:lnTo>
                  <a:close/>
                  <a:moveTo>
                    <a:pt x="401" y="1252"/>
                  </a:moveTo>
                  <a:lnTo>
                    <a:pt x="473" y="1252"/>
                  </a:lnTo>
                  <a:lnTo>
                    <a:pt x="473" y="1324"/>
                  </a:lnTo>
                  <a:lnTo>
                    <a:pt x="401" y="1324"/>
                  </a:lnTo>
                  <a:lnTo>
                    <a:pt x="401" y="1252"/>
                  </a:lnTo>
                  <a:close/>
                  <a:moveTo>
                    <a:pt x="401" y="1104"/>
                  </a:moveTo>
                  <a:lnTo>
                    <a:pt x="473" y="1104"/>
                  </a:lnTo>
                  <a:lnTo>
                    <a:pt x="473" y="1176"/>
                  </a:lnTo>
                  <a:lnTo>
                    <a:pt x="401" y="1176"/>
                  </a:lnTo>
                  <a:lnTo>
                    <a:pt x="401" y="1104"/>
                  </a:lnTo>
                  <a:close/>
                  <a:moveTo>
                    <a:pt x="401" y="957"/>
                  </a:moveTo>
                  <a:lnTo>
                    <a:pt x="473" y="957"/>
                  </a:lnTo>
                  <a:lnTo>
                    <a:pt x="473" y="1029"/>
                  </a:lnTo>
                  <a:lnTo>
                    <a:pt x="401" y="1029"/>
                  </a:lnTo>
                  <a:lnTo>
                    <a:pt x="401" y="957"/>
                  </a:lnTo>
                  <a:close/>
                  <a:moveTo>
                    <a:pt x="401" y="811"/>
                  </a:moveTo>
                  <a:lnTo>
                    <a:pt x="473" y="811"/>
                  </a:lnTo>
                  <a:lnTo>
                    <a:pt x="473" y="883"/>
                  </a:lnTo>
                  <a:lnTo>
                    <a:pt x="401" y="883"/>
                  </a:lnTo>
                  <a:lnTo>
                    <a:pt x="401" y="811"/>
                  </a:lnTo>
                  <a:close/>
                  <a:moveTo>
                    <a:pt x="401" y="662"/>
                  </a:moveTo>
                  <a:lnTo>
                    <a:pt x="473" y="662"/>
                  </a:lnTo>
                  <a:lnTo>
                    <a:pt x="473" y="734"/>
                  </a:lnTo>
                  <a:lnTo>
                    <a:pt x="401" y="734"/>
                  </a:lnTo>
                  <a:lnTo>
                    <a:pt x="401" y="662"/>
                  </a:lnTo>
                  <a:close/>
                  <a:moveTo>
                    <a:pt x="401" y="516"/>
                  </a:moveTo>
                  <a:lnTo>
                    <a:pt x="473" y="516"/>
                  </a:lnTo>
                  <a:lnTo>
                    <a:pt x="473" y="588"/>
                  </a:lnTo>
                  <a:lnTo>
                    <a:pt x="401" y="588"/>
                  </a:lnTo>
                  <a:lnTo>
                    <a:pt x="401" y="516"/>
                  </a:lnTo>
                  <a:close/>
                  <a:moveTo>
                    <a:pt x="288" y="1104"/>
                  </a:moveTo>
                  <a:lnTo>
                    <a:pt x="360" y="1104"/>
                  </a:lnTo>
                  <a:lnTo>
                    <a:pt x="360" y="1176"/>
                  </a:lnTo>
                  <a:lnTo>
                    <a:pt x="288" y="1176"/>
                  </a:lnTo>
                  <a:lnTo>
                    <a:pt x="288" y="1104"/>
                  </a:lnTo>
                  <a:close/>
                  <a:moveTo>
                    <a:pt x="288" y="957"/>
                  </a:moveTo>
                  <a:lnTo>
                    <a:pt x="360" y="957"/>
                  </a:lnTo>
                  <a:lnTo>
                    <a:pt x="360" y="1029"/>
                  </a:lnTo>
                  <a:lnTo>
                    <a:pt x="288" y="1029"/>
                  </a:lnTo>
                  <a:lnTo>
                    <a:pt x="288" y="957"/>
                  </a:lnTo>
                  <a:close/>
                  <a:moveTo>
                    <a:pt x="288" y="662"/>
                  </a:moveTo>
                  <a:lnTo>
                    <a:pt x="360" y="662"/>
                  </a:lnTo>
                  <a:lnTo>
                    <a:pt x="360" y="734"/>
                  </a:lnTo>
                  <a:lnTo>
                    <a:pt x="288" y="734"/>
                  </a:lnTo>
                  <a:lnTo>
                    <a:pt x="288" y="662"/>
                  </a:lnTo>
                  <a:close/>
                  <a:moveTo>
                    <a:pt x="288" y="516"/>
                  </a:moveTo>
                  <a:lnTo>
                    <a:pt x="360" y="516"/>
                  </a:lnTo>
                  <a:lnTo>
                    <a:pt x="360" y="588"/>
                  </a:lnTo>
                  <a:lnTo>
                    <a:pt x="288" y="588"/>
                  </a:lnTo>
                  <a:lnTo>
                    <a:pt x="288" y="516"/>
                  </a:lnTo>
                  <a:close/>
                  <a:moveTo>
                    <a:pt x="288" y="370"/>
                  </a:moveTo>
                  <a:lnTo>
                    <a:pt x="360" y="370"/>
                  </a:lnTo>
                  <a:lnTo>
                    <a:pt x="360" y="442"/>
                  </a:lnTo>
                  <a:lnTo>
                    <a:pt x="288" y="442"/>
                  </a:lnTo>
                  <a:lnTo>
                    <a:pt x="288" y="370"/>
                  </a:lnTo>
                  <a:close/>
                  <a:moveTo>
                    <a:pt x="173" y="1252"/>
                  </a:moveTo>
                  <a:lnTo>
                    <a:pt x="245" y="1252"/>
                  </a:lnTo>
                  <a:lnTo>
                    <a:pt x="245" y="1324"/>
                  </a:lnTo>
                  <a:lnTo>
                    <a:pt x="173" y="1324"/>
                  </a:lnTo>
                  <a:lnTo>
                    <a:pt x="173" y="1252"/>
                  </a:lnTo>
                  <a:close/>
                  <a:moveTo>
                    <a:pt x="173" y="1104"/>
                  </a:moveTo>
                  <a:lnTo>
                    <a:pt x="245" y="1104"/>
                  </a:lnTo>
                  <a:lnTo>
                    <a:pt x="245" y="1176"/>
                  </a:lnTo>
                  <a:lnTo>
                    <a:pt x="173" y="1176"/>
                  </a:lnTo>
                  <a:lnTo>
                    <a:pt x="173" y="1104"/>
                  </a:lnTo>
                  <a:close/>
                  <a:moveTo>
                    <a:pt x="173" y="811"/>
                  </a:moveTo>
                  <a:lnTo>
                    <a:pt x="245" y="811"/>
                  </a:lnTo>
                  <a:lnTo>
                    <a:pt x="245" y="883"/>
                  </a:lnTo>
                  <a:lnTo>
                    <a:pt x="173" y="883"/>
                  </a:lnTo>
                  <a:lnTo>
                    <a:pt x="173" y="811"/>
                  </a:lnTo>
                  <a:close/>
                  <a:moveTo>
                    <a:pt x="173" y="662"/>
                  </a:moveTo>
                  <a:lnTo>
                    <a:pt x="245" y="662"/>
                  </a:lnTo>
                  <a:lnTo>
                    <a:pt x="245" y="734"/>
                  </a:lnTo>
                  <a:lnTo>
                    <a:pt x="173" y="734"/>
                  </a:lnTo>
                  <a:lnTo>
                    <a:pt x="173" y="662"/>
                  </a:lnTo>
                  <a:close/>
                  <a:moveTo>
                    <a:pt x="173" y="516"/>
                  </a:moveTo>
                  <a:lnTo>
                    <a:pt x="245" y="516"/>
                  </a:lnTo>
                  <a:lnTo>
                    <a:pt x="245" y="588"/>
                  </a:lnTo>
                  <a:lnTo>
                    <a:pt x="173" y="588"/>
                  </a:lnTo>
                  <a:lnTo>
                    <a:pt x="173" y="516"/>
                  </a:lnTo>
                  <a:close/>
                  <a:moveTo>
                    <a:pt x="173" y="370"/>
                  </a:moveTo>
                  <a:lnTo>
                    <a:pt x="245" y="370"/>
                  </a:lnTo>
                  <a:lnTo>
                    <a:pt x="245" y="442"/>
                  </a:lnTo>
                  <a:lnTo>
                    <a:pt x="173" y="442"/>
                  </a:lnTo>
                  <a:lnTo>
                    <a:pt x="173" y="370"/>
                  </a:lnTo>
                  <a:close/>
                  <a:moveTo>
                    <a:pt x="60" y="1252"/>
                  </a:moveTo>
                  <a:lnTo>
                    <a:pt x="132" y="1252"/>
                  </a:lnTo>
                  <a:lnTo>
                    <a:pt x="132" y="1324"/>
                  </a:lnTo>
                  <a:lnTo>
                    <a:pt x="60" y="1324"/>
                  </a:lnTo>
                  <a:lnTo>
                    <a:pt x="60" y="1252"/>
                  </a:lnTo>
                  <a:close/>
                  <a:moveTo>
                    <a:pt x="60" y="1104"/>
                  </a:moveTo>
                  <a:lnTo>
                    <a:pt x="132" y="1104"/>
                  </a:lnTo>
                  <a:lnTo>
                    <a:pt x="132" y="1176"/>
                  </a:lnTo>
                  <a:lnTo>
                    <a:pt x="60" y="1176"/>
                  </a:lnTo>
                  <a:lnTo>
                    <a:pt x="60" y="1104"/>
                  </a:lnTo>
                  <a:close/>
                  <a:moveTo>
                    <a:pt x="60" y="957"/>
                  </a:moveTo>
                  <a:lnTo>
                    <a:pt x="132" y="957"/>
                  </a:lnTo>
                  <a:lnTo>
                    <a:pt x="132" y="1029"/>
                  </a:lnTo>
                  <a:lnTo>
                    <a:pt x="60" y="1029"/>
                  </a:lnTo>
                  <a:lnTo>
                    <a:pt x="60" y="957"/>
                  </a:lnTo>
                  <a:close/>
                  <a:moveTo>
                    <a:pt x="60" y="811"/>
                  </a:moveTo>
                  <a:lnTo>
                    <a:pt x="132" y="811"/>
                  </a:lnTo>
                  <a:lnTo>
                    <a:pt x="132" y="883"/>
                  </a:lnTo>
                  <a:lnTo>
                    <a:pt x="60" y="883"/>
                  </a:lnTo>
                  <a:lnTo>
                    <a:pt x="60" y="811"/>
                  </a:lnTo>
                  <a:close/>
                  <a:moveTo>
                    <a:pt x="60" y="516"/>
                  </a:moveTo>
                  <a:lnTo>
                    <a:pt x="132" y="516"/>
                  </a:lnTo>
                  <a:lnTo>
                    <a:pt x="132" y="588"/>
                  </a:lnTo>
                  <a:lnTo>
                    <a:pt x="60" y="588"/>
                  </a:lnTo>
                  <a:lnTo>
                    <a:pt x="60" y="5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endParaRPr lang="ru-RU"/>
            </a:p>
          </p:txBody>
        </p:sp>
        <p:sp>
          <p:nvSpPr>
            <p:cNvPr id="84" name="í$ḷiďe">
              <a:extLst>
                <a:ext uri="{FF2B5EF4-FFF2-40B4-BE49-F238E27FC236}">
                  <a16:creationId xmlns="" xmlns:a16="http://schemas.microsoft.com/office/drawing/2014/main" id="{6F45AAA7-2AAC-419E-AE51-24E6A20854EA}"/>
                </a:ext>
              </a:extLst>
            </p:cNvPr>
            <p:cNvSpPr/>
            <p:nvPr/>
          </p:nvSpPr>
          <p:spPr bwMode="auto">
            <a:xfrm>
              <a:off x="5907088" y="4092575"/>
              <a:ext cx="846138" cy="2030413"/>
            </a:xfrm>
            <a:custGeom>
              <a:avLst/>
              <a:gdLst>
                <a:gd name="T0" fmla="*/ 0 w 533"/>
                <a:gd name="T1" fmla="*/ 224 h 1279"/>
                <a:gd name="T2" fmla="*/ 0 w 533"/>
                <a:gd name="T3" fmla="*/ 1279 h 1279"/>
                <a:gd name="T4" fmla="*/ 533 w 533"/>
                <a:gd name="T5" fmla="*/ 1279 h 1279"/>
                <a:gd name="T6" fmla="*/ 533 w 533"/>
                <a:gd name="T7" fmla="*/ 224 h 1279"/>
                <a:gd name="T8" fmla="*/ 451 w 533"/>
                <a:gd name="T9" fmla="*/ 224 h 1279"/>
                <a:gd name="T10" fmla="*/ 451 w 533"/>
                <a:gd name="T11" fmla="*/ 116 h 1279"/>
                <a:gd name="T12" fmla="*/ 82 w 533"/>
                <a:gd name="T13" fmla="*/ 0 h 1279"/>
                <a:gd name="T14" fmla="*/ 82 w 533"/>
                <a:gd name="T15" fmla="*/ 224 h 1279"/>
                <a:gd name="T16" fmla="*/ 0 w 533"/>
                <a:gd name="T17" fmla="*/ 224 h 1279"/>
                <a:gd name="T18" fmla="*/ 324 w 533"/>
                <a:gd name="T19" fmla="*/ 792 h 1279"/>
                <a:gd name="T20" fmla="*/ 432 w 533"/>
                <a:gd name="T21" fmla="*/ 792 h 1279"/>
                <a:gd name="T22" fmla="*/ 432 w 533"/>
                <a:gd name="T23" fmla="*/ 900 h 1279"/>
                <a:gd name="T24" fmla="*/ 324 w 533"/>
                <a:gd name="T25" fmla="*/ 900 h 1279"/>
                <a:gd name="T26" fmla="*/ 324 w 533"/>
                <a:gd name="T27" fmla="*/ 792 h 1279"/>
                <a:gd name="T28" fmla="*/ 324 w 533"/>
                <a:gd name="T29" fmla="*/ 574 h 1279"/>
                <a:gd name="T30" fmla="*/ 432 w 533"/>
                <a:gd name="T31" fmla="*/ 574 h 1279"/>
                <a:gd name="T32" fmla="*/ 432 w 533"/>
                <a:gd name="T33" fmla="*/ 682 h 1279"/>
                <a:gd name="T34" fmla="*/ 324 w 533"/>
                <a:gd name="T35" fmla="*/ 682 h 1279"/>
                <a:gd name="T36" fmla="*/ 324 w 533"/>
                <a:gd name="T37" fmla="*/ 574 h 1279"/>
                <a:gd name="T38" fmla="*/ 324 w 533"/>
                <a:gd name="T39" fmla="*/ 355 h 1279"/>
                <a:gd name="T40" fmla="*/ 432 w 533"/>
                <a:gd name="T41" fmla="*/ 355 h 1279"/>
                <a:gd name="T42" fmla="*/ 432 w 533"/>
                <a:gd name="T43" fmla="*/ 463 h 1279"/>
                <a:gd name="T44" fmla="*/ 324 w 533"/>
                <a:gd name="T45" fmla="*/ 463 h 1279"/>
                <a:gd name="T46" fmla="*/ 324 w 533"/>
                <a:gd name="T47" fmla="*/ 355 h 1279"/>
                <a:gd name="T48" fmla="*/ 101 w 533"/>
                <a:gd name="T49" fmla="*/ 792 h 1279"/>
                <a:gd name="T50" fmla="*/ 209 w 533"/>
                <a:gd name="T51" fmla="*/ 792 h 1279"/>
                <a:gd name="T52" fmla="*/ 209 w 533"/>
                <a:gd name="T53" fmla="*/ 900 h 1279"/>
                <a:gd name="T54" fmla="*/ 101 w 533"/>
                <a:gd name="T55" fmla="*/ 900 h 1279"/>
                <a:gd name="T56" fmla="*/ 101 w 533"/>
                <a:gd name="T57" fmla="*/ 792 h 1279"/>
                <a:gd name="T58" fmla="*/ 101 w 533"/>
                <a:gd name="T59" fmla="*/ 574 h 1279"/>
                <a:gd name="T60" fmla="*/ 209 w 533"/>
                <a:gd name="T61" fmla="*/ 574 h 1279"/>
                <a:gd name="T62" fmla="*/ 209 w 533"/>
                <a:gd name="T63" fmla="*/ 682 h 1279"/>
                <a:gd name="T64" fmla="*/ 101 w 533"/>
                <a:gd name="T65" fmla="*/ 682 h 1279"/>
                <a:gd name="T66" fmla="*/ 101 w 533"/>
                <a:gd name="T67" fmla="*/ 574 h 1279"/>
                <a:gd name="T68" fmla="*/ 101 w 533"/>
                <a:gd name="T69" fmla="*/ 355 h 1279"/>
                <a:gd name="T70" fmla="*/ 209 w 533"/>
                <a:gd name="T71" fmla="*/ 355 h 1279"/>
                <a:gd name="T72" fmla="*/ 209 w 533"/>
                <a:gd name="T73" fmla="*/ 463 h 1279"/>
                <a:gd name="T74" fmla="*/ 101 w 533"/>
                <a:gd name="T75" fmla="*/ 463 h 1279"/>
                <a:gd name="T76" fmla="*/ 101 w 533"/>
                <a:gd name="T77" fmla="*/ 355 h 1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533" h="1279">
                  <a:moveTo>
                    <a:pt x="0" y="224"/>
                  </a:moveTo>
                  <a:lnTo>
                    <a:pt x="0" y="1279"/>
                  </a:lnTo>
                  <a:lnTo>
                    <a:pt x="533" y="1279"/>
                  </a:lnTo>
                  <a:lnTo>
                    <a:pt x="533" y="224"/>
                  </a:lnTo>
                  <a:lnTo>
                    <a:pt x="451" y="224"/>
                  </a:lnTo>
                  <a:lnTo>
                    <a:pt x="451" y="116"/>
                  </a:lnTo>
                  <a:lnTo>
                    <a:pt x="82" y="0"/>
                  </a:lnTo>
                  <a:lnTo>
                    <a:pt x="82" y="224"/>
                  </a:lnTo>
                  <a:lnTo>
                    <a:pt x="0" y="224"/>
                  </a:lnTo>
                  <a:close/>
                  <a:moveTo>
                    <a:pt x="324" y="792"/>
                  </a:moveTo>
                  <a:lnTo>
                    <a:pt x="432" y="792"/>
                  </a:lnTo>
                  <a:lnTo>
                    <a:pt x="432" y="900"/>
                  </a:lnTo>
                  <a:lnTo>
                    <a:pt x="324" y="900"/>
                  </a:lnTo>
                  <a:lnTo>
                    <a:pt x="324" y="792"/>
                  </a:lnTo>
                  <a:close/>
                  <a:moveTo>
                    <a:pt x="324" y="574"/>
                  </a:moveTo>
                  <a:lnTo>
                    <a:pt x="432" y="574"/>
                  </a:lnTo>
                  <a:lnTo>
                    <a:pt x="432" y="682"/>
                  </a:lnTo>
                  <a:lnTo>
                    <a:pt x="324" y="682"/>
                  </a:lnTo>
                  <a:lnTo>
                    <a:pt x="324" y="574"/>
                  </a:lnTo>
                  <a:close/>
                  <a:moveTo>
                    <a:pt x="324" y="355"/>
                  </a:moveTo>
                  <a:lnTo>
                    <a:pt x="432" y="355"/>
                  </a:lnTo>
                  <a:lnTo>
                    <a:pt x="432" y="463"/>
                  </a:lnTo>
                  <a:lnTo>
                    <a:pt x="324" y="463"/>
                  </a:lnTo>
                  <a:lnTo>
                    <a:pt x="324" y="355"/>
                  </a:lnTo>
                  <a:close/>
                  <a:moveTo>
                    <a:pt x="101" y="792"/>
                  </a:moveTo>
                  <a:lnTo>
                    <a:pt x="209" y="792"/>
                  </a:lnTo>
                  <a:lnTo>
                    <a:pt x="209" y="900"/>
                  </a:lnTo>
                  <a:lnTo>
                    <a:pt x="101" y="900"/>
                  </a:lnTo>
                  <a:lnTo>
                    <a:pt x="101" y="792"/>
                  </a:lnTo>
                  <a:close/>
                  <a:moveTo>
                    <a:pt x="101" y="574"/>
                  </a:moveTo>
                  <a:lnTo>
                    <a:pt x="209" y="574"/>
                  </a:lnTo>
                  <a:lnTo>
                    <a:pt x="209" y="682"/>
                  </a:lnTo>
                  <a:lnTo>
                    <a:pt x="101" y="682"/>
                  </a:lnTo>
                  <a:lnTo>
                    <a:pt x="101" y="574"/>
                  </a:lnTo>
                  <a:close/>
                  <a:moveTo>
                    <a:pt x="101" y="355"/>
                  </a:moveTo>
                  <a:lnTo>
                    <a:pt x="209" y="355"/>
                  </a:lnTo>
                  <a:lnTo>
                    <a:pt x="209" y="463"/>
                  </a:lnTo>
                  <a:lnTo>
                    <a:pt x="101" y="463"/>
                  </a:lnTo>
                  <a:lnTo>
                    <a:pt x="101" y="35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endParaRPr lang="ru-RU"/>
            </a:p>
          </p:txBody>
        </p:sp>
      </p:grpSp>
      <p:grpSp>
        <p:nvGrpSpPr>
          <p:cNvPr id="85" name="îṣľîḋe">
            <a:extLst>
              <a:ext uri="{FF2B5EF4-FFF2-40B4-BE49-F238E27FC236}">
                <a16:creationId xmlns="" xmlns:a16="http://schemas.microsoft.com/office/drawing/2014/main" id="{B9565A3C-C6D0-4680-A2D0-1E553A0A03D7}"/>
              </a:ext>
            </a:extLst>
          </p:cNvPr>
          <p:cNvGrpSpPr/>
          <p:nvPr userDrawn="1"/>
        </p:nvGrpSpPr>
        <p:grpSpPr>
          <a:xfrm flipH="1">
            <a:off x="8796338" y="1990725"/>
            <a:ext cx="2474912" cy="3900488"/>
            <a:chOff x="917576" y="1990725"/>
            <a:chExt cx="2474912" cy="3900488"/>
          </a:xfrm>
          <a:solidFill>
            <a:schemeClr val="accent1"/>
          </a:solidFill>
        </p:grpSpPr>
        <p:sp>
          <p:nvSpPr>
            <p:cNvPr id="86" name="iŝlíḑé">
              <a:extLst>
                <a:ext uri="{FF2B5EF4-FFF2-40B4-BE49-F238E27FC236}">
                  <a16:creationId xmlns="" xmlns:a16="http://schemas.microsoft.com/office/drawing/2014/main" id="{452DBC70-3DF7-4CAF-8F13-4A7D5C8CC9F8}"/>
                </a:ext>
              </a:extLst>
            </p:cNvPr>
            <p:cNvSpPr/>
            <p:nvPr/>
          </p:nvSpPr>
          <p:spPr bwMode="auto">
            <a:xfrm>
              <a:off x="1971676" y="3224213"/>
              <a:ext cx="361950" cy="361950"/>
            </a:xfrm>
            <a:custGeom>
              <a:avLst/>
              <a:gdLst>
                <a:gd name="T0" fmla="*/ 0 w 95"/>
                <a:gd name="T1" fmla="*/ 48 h 95"/>
                <a:gd name="T2" fmla="*/ 48 w 95"/>
                <a:gd name="T3" fmla="*/ 95 h 95"/>
                <a:gd name="T4" fmla="*/ 95 w 95"/>
                <a:gd name="T5" fmla="*/ 48 h 95"/>
                <a:gd name="T6" fmla="*/ 48 w 95"/>
                <a:gd name="T7" fmla="*/ 0 h 95"/>
                <a:gd name="T8" fmla="*/ 0 w 95"/>
                <a:gd name="T9" fmla="*/ 48 h 95"/>
                <a:gd name="T10" fmla="*/ 33 w 95"/>
                <a:gd name="T11" fmla="*/ 48 h 95"/>
                <a:gd name="T12" fmla="*/ 48 w 95"/>
                <a:gd name="T13" fmla="*/ 33 h 95"/>
                <a:gd name="T14" fmla="*/ 63 w 95"/>
                <a:gd name="T15" fmla="*/ 48 h 95"/>
                <a:gd name="T16" fmla="*/ 48 w 95"/>
                <a:gd name="T17" fmla="*/ 63 h 95"/>
                <a:gd name="T18" fmla="*/ 33 w 95"/>
                <a:gd name="T19" fmla="*/ 48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5" h="95">
                  <a:moveTo>
                    <a:pt x="0" y="48"/>
                  </a:moveTo>
                  <a:cubicBezTo>
                    <a:pt x="0" y="74"/>
                    <a:pt x="21" y="95"/>
                    <a:pt x="48" y="95"/>
                  </a:cubicBezTo>
                  <a:cubicBezTo>
                    <a:pt x="74" y="95"/>
                    <a:pt x="95" y="74"/>
                    <a:pt x="95" y="48"/>
                  </a:cubicBezTo>
                  <a:cubicBezTo>
                    <a:pt x="95" y="21"/>
                    <a:pt x="74" y="0"/>
                    <a:pt x="48" y="0"/>
                  </a:cubicBezTo>
                  <a:cubicBezTo>
                    <a:pt x="21" y="0"/>
                    <a:pt x="0" y="21"/>
                    <a:pt x="0" y="48"/>
                  </a:cubicBezTo>
                  <a:close/>
                  <a:moveTo>
                    <a:pt x="33" y="48"/>
                  </a:moveTo>
                  <a:cubicBezTo>
                    <a:pt x="33" y="40"/>
                    <a:pt x="39" y="33"/>
                    <a:pt x="48" y="33"/>
                  </a:cubicBezTo>
                  <a:cubicBezTo>
                    <a:pt x="56" y="33"/>
                    <a:pt x="63" y="40"/>
                    <a:pt x="63" y="48"/>
                  </a:cubicBezTo>
                  <a:cubicBezTo>
                    <a:pt x="63" y="56"/>
                    <a:pt x="56" y="63"/>
                    <a:pt x="48" y="63"/>
                  </a:cubicBezTo>
                  <a:cubicBezTo>
                    <a:pt x="39" y="63"/>
                    <a:pt x="33" y="56"/>
                    <a:pt x="33" y="4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lnSpcReduction="10000"/>
            </a:bodyPr>
            <a:lstStyle/>
            <a:p>
              <a:endParaRPr lang="ru-RU"/>
            </a:p>
          </p:txBody>
        </p:sp>
        <p:sp>
          <p:nvSpPr>
            <p:cNvPr id="87" name="íslîde">
              <a:extLst>
                <a:ext uri="{FF2B5EF4-FFF2-40B4-BE49-F238E27FC236}">
                  <a16:creationId xmlns="" xmlns:a16="http://schemas.microsoft.com/office/drawing/2014/main" id="{805CE719-AECD-415E-9991-449965239E10}"/>
                </a:ext>
              </a:extLst>
            </p:cNvPr>
            <p:cNvSpPr/>
            <p:nvPr/>
          </p:nvSpPr>
          <p:spPr bwMode="auto">
            <a:xfrm>
              <a:off x="2028826" y="1990725"/>
              <a:ext cx="247650" cy="1162050"/>
            </a:xfrm>
            <a:custGeom>
              <a:avLst/>
              <a:gdLst>
                <a:gd name="T0" fmla="*/ 33 w 65"/>
                <a:gd name="T1" fmla="*/ 303 h 305"/>
                <a:gd name="T2" fmla="*/ 15 w 65"/>
                <a:gd name="T3" fmla="*/ 305 h 305"/>
                <a:gd name="T4" fmla="*/ 0 w 65"/>
                <a:gd name="T5" fmla="*/ 177 h 305"/>
                <a:gd name="T6" fmla="*/ 24 w 65"/>
                <a:gd name="T7" fmla="*/ 9 h 305"/>
                <a:gd name="T8" fmla="*/ 41 w 65"/>
                <a:gd name="T9" fmla="*/ 9 h 305"/>
                <a:gd name="T10" fmla="*/ 65 w 65"/>
                <a:gd name="T11" fmla="*/ 177 h 305"/>
                <a:gd name="T12" fmla="*/ 51 w 65"/>
                <a:gd name="T13" fmla="*/ 305 h 305"/>
                <a:gd name="T14" fmla="*/ 33 w 65"/>
                <a:gd name="T15" fmla="*/ 303 h 3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5" h="305">
                  <a:moveTo>
                    <a:pt x="33" y="303"/>
                  </a:moveTo>
                  <a:cubicBezTo>
                    <a:pt x="26" y="303"/>
                    <a:pt x="20" y="304"/>
                    <a:pt x="15" y="305"/>
                  </a:cubicBezTo>
                  <a:cubicBezTo>
                    <a:pt x="7" y="271"/>
                    <a:pt x="0" y="226"/>
                    <a:pt x="0" y="177"/>
                  </a:cubicBezTo>
                  <a:cubicBezTo>
                    <a:pt x="0" y="105"/>
                    <a:pt x="15" y="43"/>
                    <a:pt x="24" y="9"/>
                  </a:cubicBezTo>
                  <a:cubicBezTo>
                    <a:pt x="27" y="0"/>
                    <a:pt x="39" y="0"/>
                    <a:pt x="41" y="9"/>
                  </a:cubicBezTo>
                  <a:cubicBezTo>
                    <a:pt x="51" y="43"/>
                    <a:pt x="65" y="105"/>
                    <a:pt x="65" y="177"/>
                  </a:cubicBezTo>
                  <a:cubicBezTo>
                    <a:pt x="65" y="226"/>
                    <a:pt x="58" y="271"/>
                    <a:pt x="51" y="305"/>
                  </a:cubicBezTo>
                  <a:cubicBezTo>
                    <a:pt x="45" y="304"/>
                    <a:pt x="39" y="303"/>
                    <a:pt x="33" y="30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endParaRPr lang="ru-RU"/>
            </a:p>
          </p:txBody>
        </p:sp>
        <p:sp>
          <p:nvSpPr>
            <p:cNvPr id="88" name="îṡliďê">
              <a:extLst>
                <a:ext uri="{FF2B5EF4-FFF2-40B4-BE49-F238E27FC236}">
                  <a16:creationId xmlns="" xmlns:a16="http://schemas.microsoft.com/office/drawing/2014/main" id="{0B5B017C-F7D7-41D6-A18C-067053BAB17E}"/>
                </a:ext>
              </a:extLst>
            </p:cNvPr>
            <p:cNvSpPr/>
            <p:nvPr/>
          </p:nvSpPr>
          <p:spPr bwMode="auto">
            <a:xfrm>
              <a:off x="2338388" y="3471863"/>
              <a:ext cx="1054100" cy="663575"/>
            </a:xfrm>
            <a:custGeom>
              <a:avLst/>
              <a:gdLst>
                <a:gd name="T0" fmla="*/ 18 w 277"/>
                <a:gd name="T1" fmla="*/ 0 h 174"/>
                <a:gd name="T2" fmla="*/ 137 w 277"/>
                <a:gd name="T3" fmla="*/ 52 h 174"/>
                <a:gd name="T4" fmla="*/ 270 w 277"/>
                <a:gd name="T5" fmla="*/ 157 h 174"/>
                <a:gd name="T6" fmla="*/ 262 w 277"/>
                <a:gd name="T7" fmla="*/ 172 h 174"/>
                <a:gd name="T8" fmla="*/ 105 w 277"/>
                <a:gd name="T9" fmla="*/ 108 h 174"/>
                <a:gd name="T10" fmla="*/ 0 w 277"/>
                <a:gd name="T11" fmla="*/ 32 h 174"/>
                <a:gd name="T12" fmla="*/ 18 w 277"/>
                <a:gd name="T13" fmla="*/ 0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7" h="174">
                  <a:moveTo>
                    <a:pt x="18" y="0"/>
                  </a:moveTo>
                  <a:cubicBezTo>
                    <a:pt x="52" y="11"/>
                    <a:pt x="94" y="28"/>
                    <a:pt x="137" y="52"/>
                  </a:cubicBezTo>
                  <a:cubicBezTo>
                    <a:pt x="199" y="88"/>
                    <a:pt x="246" y="132"/>
                    <a:pt x="270" y="157"/>
                  </a:cubicBezTo>
                  <a:cubicBezTo>
                    <a:pt x="277" y="163"/>
                    <a:pt x="271" y="174"/>
                    <a:pt x="262" y="172"/>
                  </a:cubicBezTo>
                  <a:cubicBezTo>
                    <a:pt x="228" y="163"/>
                    <a:pt x="166" y="144"/>
                    <a:pt x="105" y="108"/>
                  </a:cubicBezTo>
                  <a:cubicBezTo>
                    <a:pt x="62" y="84"/>
                    <a:pt x="26" y="55"/>
                    <a:pt x="0" y="32"/>
                  </a:cubicBezTo>
                  <a:cubicBezTo>
                    <a:pt x="9" y="23"/>
                    <a:pt x="15" y="12"/>
                    <a:pt x="18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endParaRPr lang="ru-RU"/>
            </a:p>
          </p:txBody>
        </p:sp>
        <p:sp>
          <p:nvSpPr>
            <p:cNvPr id="89" name="íṩľíḓê">
              <a:extLst>
                <a:ext uri="{FF2B5EF4-FFF2-40B4-BE49-F238E27FC236}">
                  <a16:creationId xmlns="" xmlns:a16="http://schemas.microsoft.com/office/drawing/2014/main" id="{345ED99A-CDA1-48A9-AF31-0D96868DE91E}"/>
                </a:ext>
              </a:extLst>
            </p:cNvPr>
            <p:cNvSpPr/>
            <p:nvPr/>
          </p:nvSpPr>
          <p:spPr bwMode="auto">
            <a:xfrm>
              <a:off x="917576" y="3471863"/>
              <a:ext cx="1050925" cy="663575"/>
            </a:xfrm>
            <a:custGeom>
              <a:avLst/>
              <a:gdLst>
                <a:gd name="T0" fmla="*/ 6 w 276"/>
                <a:gd name="T1" fmla="*/ 157 h 174"/>
                <a:gd name="T2" fmla="*/ 140 w 276"/>
                <a:gd name="T3" fmla="*/ 52 h 174"/>
                <a:gd name="T4" fmla="*/ 258 w 276"/>
                <a:gd name="T5" fmla="*/ 0 h 174"/>
                <a:gd name="T6" fmla="*/ 276 w 276"/>
                <a:gd name="T7" fmla="*/ 32 h 174"/>
                <a:gd name="T8" fmla="*/ 172 w 276"/>
                <a:gd name="T9" fmla="*/ 108 h 174"/>
                <a:gd name="T10" fmla="*/ 15 w 276"/>
                <a:gd name="T11" fmla="*/ 172 h 174"/>
                <a:gd name="T12" fmla="*/ 6 w 276"/>
                <a:gd name="T13" fmla="*/ 157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6" h="174">
                  <a:moveTo>
                    <a:pt x="6" y="157"/>
                  </a:moveTo>
                  <a:cubicBezTo>
                    <a:pt x="31" y="132"/>
                    <a:pt x="78" y="88"/>
                    <a:pt x="140" y="52"/>
                  </a:cubicBezTo>
                  <a:cubicBezTo>
                    <a:pt x="182" y="28"/>
                    <a:pt x="225" y="11"/>
                    <a:pt x="258" y="0"/>
                  </a:cubicBezTo>
                  <a:cubicBezTo>
                    <a:pt x="261" y="12"/>
                    <a:pt x="268" y="23"/>
                    <a:pt x="276" y="32"/>
                  </a:cubicBezTo>
                  <a:cubicBezTo>
                    <a:pt x="250" y="55"/>
                    <a:pt x="215" y="84"/>
                    <a:pt x="172" y="108"/>
                  </a:cubicBezTo>
                  <a:cubicBezTo>
                    <a:pt x="110" y="144"/>
                    <a:pt x="49" y="163"/>
                    <a:pt x="15" y="172"/>
                  </a:cubicBezTo>
                  <a:cubicBezTo>
                    <a:pt x="6" y="174"/>
                    <a:pt x="0" y="163"/>
                    <a:pt x="6" y="15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endParaRPr lang="ru-RU"/>
            </a:p>
          </p:txBody>
        </p:sp>
        <p:sp>
          <p:nvSpPr>
            <p:cNvPr id="90" name="ïs1îḋê">
              <a:extLst>
                <a:ext uri="{FF2B5EF4-FFF2-40B4-BE49-F238E27FC236}">
                  <a16:creationId xmlns="" xmlns:a16="http://schemas.microsoft.com/office/drawing/2014/main" id="{DB0A0009-2B7E-4EB9-B93B-5C0B5D1FCD5A}"/>
                </a:ext>
              </a:extLst>
            </p:cNvPr>
            <p:cNvSpPr/>
            <p:nvPr/>
          </p:nvSpPr>
          <p:spPr bwMode="auto">
            <a:xfrm>
              <a:off x="2003426" y="3662363"/>
              <a:ext cx="303213" cy="2228850"/>
            </a:xfrm>
            <a:custGeom>
              <a:avLst/>
              <a:gdLst>
                <a:gd name="T0" fmla="*/ 40 w 80"/>
                <a:gd name="T1" fmla="*/ 2 h 585"/>
                <a:gd name="T2" fmla="*/ 52 w 80"/>
                <a:gd name="T3" fmla="*/ 0 h 585"/>
                <a:gd name="T4" fmla="*/ 80 w 80"/>
                <a:gd name="T5" fmla="*/ 585 h 585"/>
                <a:gd name="T6" fmla="*/ 0 w 80"/>
                <a:gd name="T7" fmla="*/ 585 h 585"/>
                <a:gd name="T8" fmla="*/ 27 w 80"/>
                <a:gd name="T9" fmla="*/ 0 h 585"/>
                <a:gd name="T10" fmla="*/ 40 w 80"/>
                <a:gd name="T11" fmla="*/ 2 h 5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0" h="585">
                  <a:moveTo>
                    <a:pt x="40" y="2"/>
                  </a:moveTo>
                  <a:cubicBezTo>
                    <a:pt x="44" y="2"/>
                    <a:pt x="48" y="1"/>
                    <a:pt x="52" y="0"/>
                  </a:cubicBezTo>
                  <a:cubicBezTo>
                    <a:pt x="80" y="585"/>
                    <a:pt x="80" y="585"/>
                    <a:pt x="80" y="585"/>
                  </a:cubicBezTo>
                  <a:cubicBezTo>
                    <a:pt x="0" y="585"/>
                    <a:pt x="0" y="585"/>
                    <a:pt x="0" y="585"/>
                  </a:cubicBezTo>
                  <a:cubicBezTo>
                    <a:pt x="27" y="0"/>
                    <a:pt x="27" y="0"/>
                    <a:pt x="27" y="0"/>
                  </a:cubicBezTo>
                  <a:cubicBezTo>
                    <a:pt x="31" y="1"/>
                    <a:pt x="35" y="2"/>
                    <a:pt x="40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endParaRPr lang="ru-RU"/>
            </a:p>
          </p:txBody>
        </p:sp>
      </p:grpSp>
      <p:grpSp>
        <p:nvGrpSpPr>
          <p:cNvPr id="91" name="iṩ1iḋé">
            <a:extLst>
              <a:ext uri="{FF2B5EF4-FFF2-40B4-BE49-F238E27FC236}">
                <a16:creationId xmlns="" xmlns:a16="http://schemas.microsoft.com/office/drawing/2014/main" id="{672D88A6-C17E-41F8-8402-218083E4EAEB}"/>
              </a:ext>
            </a:extLst>
          </p:cNvPr>
          <p:cNvGrpSpPr/>
          <p:nvPr userDrawn="1"/>
        </p:nvGrpSpPr>
        <p:grpSpPr>
          <a:xfrm flipH="1">
            <a:off x="7556500" y="3487738"/>
            <a:ext cx="1651000" cy="2600325"/>
            <a:chOff x="2981326" y="3487738"/>
            <a:chExt cx="1651000" cy="2600325"/>
          </a:xfrm>
          <a:solidFill>
            <a:schemeClr val="accent2">
              <a:lumMod val="75000"/>
            </a:schemeClr>
          </a:solidFill>
        </p:grpSpPr>
        <p:sp>
          <p:nvSpPr>
            <p:cNvPr id="92" name="iṩľïďé">
              <a:extLst>
                <a:ext uri="{FF2B5EF4-FFF2-40B4-BE49-F238E27FC236}">
                  <a16:creationId xmlns="" xmlns:a16="http://schemas.microsoft.com/office/drawing/2014/main" id="{3CEEF56A-4F7B-4BEA-9E41-53EF1A1355AC}"/>
                </a:ext>
              </a:extLst>
            </p:cNvPr>
            <p:cNvSpPr/>
            <p:nvPr/>
          </p:nvSpPr>
          <p:spPr bwMode="auto">
            <a:xfrm>
              <a:off x="3684588" y="4310063"/>
              <a:ext cx="244475" cy="239713"/>
            </a:xfrm>
            <a:custGeom>
              <a:avLst/>
              <a:gdLst>
                <a:gd name="T0" fmla="*/ 0 w 64"/>
                <a:gd name="T1" fmla="*/ 32 h 63"/>
                <a:gd name="T2" fmla="*/ 32 w 64"/>
                <a:gd name="T3" fmla="*/ 63 h 63"/>
                <a:gd name="T4" fmla="*/ 64 w 64"/>
                <a:gd name="T5" fmla="*/ 32 h 63"/>
                <a:gd name="T6" fmla="*/ 32 w 64"/>
                <a:gd name="T7" fmla="*/ 0 h 63"/>
                <a:gd name="T8" fmla="*/ 0 w 64"/>
                <a:gd name="T9" fmla="*/ 32 h 63"/>
                <a:gd name="T10" fmla="*/ 22 w 64"/>
                <a:gd name="T11" fmla="*/ 32 h 63"/>
                <a:gd name="T12" fmla="*/ 32 w 64"/>
                <a:gd name="T13" fmla="*/ 22 h 63"/>
                <a:gd name="T14" fmla="*/ 42 w 64"/>
                <a:gd name="T15" fmla="*/ 32 h 63"/>
                <a:gd name="T16" fmla="*/ 32 w 64"/>
                <a:gd name="T17" fmla="*/ 42 h 63"/>
                <a:gd name="T18" fmla="*/ 22 w 64"/>
                <a:gd name="T19" fmla="*/ 32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4" h="63">
                  <a:moveTo>
                    <a:pt x="0" y="32"/>
                  </a:moveTo>
                  <a:cubicBezTo>
                    <a:pt x="0" y="49"/>
                    <a:pt x="14" y="63"/>
                    <a:pt x="32" y="63"/>
                  </a:cubicBezTo>
                  <a:cubicBezTo>
                    <a:pt x="49" y="63"/>
                    <a:pt x="64" y="49"/>
                    <a:pt x="64" y="32"/>
                  </a:cubicBezTo>
                  <a:cubicBezTo>
                    <a:pt x="64" y="14"/>
                    <a:pt x="49" y="0"/>
                    <a:pt x="32" y="0"/>
                  </a:cubicBezTo>
                  <a:cubicBezTo>
                    <a:pt x="14" y="0"/>
                    <a:pt x="0" y="14"/>
                    <a:pt x="0" y="32"/>
                  </a:cubicBezTo>
                  <a:close/>
                  <a:moveTo>
                    <a:pt x="22" y="32"/>
                  </a:moveTo>
                  <a:cubicBezTo>
                    <a:pt x="22" y="26"/>
                    <a:pt x="26" y="22"/>
                    <a:pt x="32" y="22"/>
                  </a:cubicBezTo>
                  <a:cubicBezTo>
                    <a:pt x="37" y="22"/>
                    <a:pt x="42" y="26"/>
                    <a:pt x="42" y="32"/>
                  </a:cubicBezTo>
                  <a:cubicBezTo>
                    <a:pt x="42" y="37"/>
                    <a:pt x="37" y="42"/>
                    <a:pt x="32" y="42"/>
                  </a:cubicBezTo>
                  <a:cubicBezTo>
                    <a:pt x="26" y="42"/>
                    <a:pt x="22" y="37"/>
                    <a:pt x="22" y="3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62500" lnSpcReduction="20000"/>
            </a:bodyPr>
            <a:lstStyle/>
            <a:p>
              <a:endParaRPr lang="ru-RU"/>
            </a:p>
          </p:txBody>
        </p:sp>
        <p:sp>
          <p:nvSpPr>
            <p:cNvPr id="93" name="îŝlîḍe">
              <a:extLst>
                <a:ext uri="{FF2B5EF4-FFF2-40B4-BE49-F238E27FC236}">
                  <a16:creationId xmlns="" xmlns:a16="http://schemas.microsoft.com/office/drawing/2014/main" id="{2D580285-8BCB-489D-A99F-35607050C52C}"/>
                </a:ext>
              </a:extLst>
            </p:cNvPr>
            <p:cNvSpPr/>
            <p:nvPr/>
          </p:nvSpPr>
          <p:spPr bwMode="auto">
            <a:xfrm>
              <a:off x="3722688" y="3487738"/>
              <a:ext cx="163513" cy="773113"/>
            </a:xfrm>
            <a:custGeom>
              <a:avLst/>
              <a:gdLst>
                <a:gd name="T0" fmla="*/ 22 w 43"/>
                <a:gd name="T1" fmla="*/ 202 h 203"/>
                <a:gd name="T2" fmla="*/ 10 w 43"/>
                <a:gd name="T3" fmla="*/ 203 h 203"/>
                <a:gd name="T4" fmla="*/ 0 w 43"/>
                <a:gd name="T5" fmla="*/ 117 h 203"/>
                <a:gd name="T6" fmla="*/ 16 w 43"/>
                <a:gd name="T7" fmla="*/ 6 h 203"/>
                <a:gd name="T8" fmla="*/ 28 w 43"/>
                <a:gd name="T9" fmla="*/ 6 h 203"/>
                <a:gd name="T10" fmla="*/ 43 w 43"/>
                <a:gd name="T11" fmla="*/ 117 h 203"/>
                <a:gd name="T12" fmla="*/ 34 w 43"/>
                <a:gd name="T13" fmla="*/ 203 h 203"/>
                <a:gd name="T14" fmla="*/ 22 w 43"/>
                <a:gd name="T15" fmla="*/ 202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3" h="203">
                  <a:moveTo>
                    <a:pt x="22" y="202"/>
                  </a:moveTo>
                  <a:cubicBezTo>
                    <a:pt x="18" y="202"/>
                    <a:pt x="14" y="202"/>
                    <a:pt x="10" y="203"/>
                  </a:cubicBezTo>
                  <a:cubicBezTo>
                    <a:pt x="5" y="180"/>
                    <a:pt x="0" y="150"/>
                    <a:pt x="0" y="117"/>
                  </a:cubicBezTo>
                  <a:cubicBezTo>
                    <a:pt x="0" y="70"/>
                    <a:pt x="10" y="28"/>
                    <a:pt x="16" y="6"/>
                  </a:cubicBezTo>
                  <a:cubicBezTo>
                    <a:pt x="18" y="0"/>
                    <a:pt x="26" y="0"/>
                    <a:pt x="28" y="6"/>
                  </a:cubicBezTo>
                  <a:cubicBezTo>
                    <a:pt x="34" y="28"/>
                    <a:pt x="43" y="70"/>
                    <a:pt x="43" y="117"/>
                  </a:cubicBezTo>
                  <a:cubicBezTo>
                    <a:pt x="43" y="150"/>
                    <a:pt x="39" y="180"/>
                    <a:pt x="34" y="203"/>
                  </a:cubicBezTo>
                  <a:cubicBezTo>
                    <a:pt x="30" y="202"/>
                    <a:pt x="26" y="202"/>
                    <a:pt x="22" y="20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endParaRPr lang="ru-RU"/>
            </a:p>
          </p:txBody>
        </p:sp>
        <p:sp>
          <p:nvSpPr>
            <p:cNvPr id="94" name="ïṣḻiḋè">
              <a:extLst>
                <a:ext uri="{FF2B5EF4-FFF2-40B4-BE49-F238E27FC236}">
                  <a16:creationId xmlns="" xmlns:a16="http://schemas.microsoft.com/office/drawing/2014/main" id="{B6C5562A-9793-455D-BF33-E26552621024}"/>
                </a:ext>
              </a:extLst>
            </p:cNvPr>
            <p:cNvSpPr/>
            <p:nvPr/>
          </p:nvSpPr>
          <p:spPr bwMode="auto">
            <a:xfrm>
              <a:off x="3929063" y="4473575"/>
              <a:ext cx="703263" cy="442913"/>
            </a:xfrm>
            <a:custGeom>
              <a:avLst/>
              <a:gdLst>
                <a:gd name="T0" fmla="*/ 12 w 185"/>
                <a:gd name="T1" fmla="*/ 0 h 116"/>
                <a:gd name="T2" fmla="*/ 91 w 185"/>
                <a:gd name="T3" fmla="*/ 35 h 116"/>
                <a:gd name="T4" fmla="*/ 180 w 185"/>
                <a:gd name="T5" fmla="*/ 105 h 116"/>
                <a:gd name="T6" fmla="*/ 175 w 185"/>
                <a:gd name="T7" fmla="*/ 115 h 116"/>
                <a:gd name="T8" fmla="*/ 70 w 185"/>
                <a:gd name="T9" fmla="*/ 72 h 116"/>
                <a:gd name="T10" fmla="*/ 0 w 185"/>
                <a:gd name="T11" fmla="*/ 21 h 116"/>
                <a:gd name="T12" fmla="*/ 12 w 185"/>
                <a:gd name="T13" fmla="*/ 0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5" h="116">
                  <a:moveTo>
                    <a:pt x="12" y="0"/>
                  </a:moveTo>
                  <a:cubicBezTo>
                    <a:pt x="35" y="7"/>
                    <a:pt x="63" y="19"/>
                    <a:pt x="91" y="35"/>
                  </a:cubicBezTo>
                  <a:cubicBezTo>
                    <a:pt x="133" y="59"/>
                    <a:pt x="164" y="88"/>
                    <a:pt x="180" y="105"/>
                  </a:cubicBezTo>
                  <a:cubicBezTo>
                    <a:pt x="185" y="109"/>
                    <a:pt x="181" y="116"/>
                    <a:pt x="175" y="115"/>
                  </a:cubicBezTo>
                  <a:cubicBezTo>
                    <a:pt x="152" y="109"/>
                    <a:pt x="111" y="96"/>
                    <a:pt x="70" y="72"/>
                  </a:cubicBezTo>
                  <a:cubicBezTo>
                    <a:pt x="41" y="56"/>
                    <a:pt x="18" y="37"/>
                    <a:pt x="0" y="21"/>
                  </a:cubicBezTo>
                  <a:cubicBezTo>
                    <a:pt x="6" y="16"/>
                    <a:pt x="10" y="8"/>
                    <a:pt x="1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endParaRPr lang="ru-RU"/>
            </a:p>
          </p:txBody>
        </p:sp>
        <p:sp>
          <p:nvSpPr>
            <p:cNvPr id="95" name="ïśľïďé">
              <a:extLst>
                <a:ext uri="{FF2B5EF4-FFF2-40B4-BE49-F238E27FC236}">
                  <a16:creationId xmlns="" xmlns:a16="http://schemas.microsoft.com/office/drawing/2014/main" id="{AD5CFCBF-5D5C-4FA7-8CEC-8848F94819BE}"/>
                </a:ext>
              </a:extLst>
            </p:cNvPr>
            <p:cNvSpPr/>
            <p:nvPr/>
          </p:nvSpPr>
          <p:spPr bwMode="auto">
            <a:xfrm>
              <a:off x="2981326" y="4473575"/>
              <a:ext cx="703263" cy="442913"/>
            </a:xfrm>
            <a:custGeom>
              <a:avLst/>
              <a:gdLst>
                <a:gd name="T0" fmla="*/ 4 w 185"/>
                <a:gd name="T1" fmla="*/ 105 h 116"/>
                <a:gd name="T2" fmla="*/ 93 w 185"/>
                <a:gd name="T3" fmla="*/ 35 h 116"/>
                <a:gd name="T4" fmla="*/ 173 w 185"/>
                <a:gd name="T5" fmla="*/ 0 h 116"/>
                <a:gd name="T6" fmla="*/ 185 w 185"/>
                <a:gd name="T7" fmla="*/ 21 h 116"/>
                <a:gd name="T8" fmla="*/ 115 w 185"/>
                <a:gd name="T9" fmla="*/ 72 h 116"/>
                <a:gd name="T10" fmla="*/ 10 w 185"/>
                <a:gd name="T11" fmla="*/ 115 h 116"/>
                <a:gd name="T12" fmla="*/ 4 w 185"/>
                <a:gd name="T13" fmla="*/ 105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5" h="116">
                  <a:moveTo>
                    <a:pt x="4" y="105"/>
                  </a:moveTo>
                  <a:cubicBezTo>
                    <a:pt x="21" y="88"/>
                    <a:pt x="52" y="59"/>
                    <a:pt x="93" y="35"/>
                  </a:cubicBezTo>
                  <a:cubicBezTo>
                    <a:pt x="122" y="19"/>
                    <a:pt x="150" y="7"/>
                    <a:pt x="173" y="0"/>
                  </a:cubicBezTo>
                  <a:cubicBezTo>
                    <a:pt x="175" y="8"/>
                    <a:pt x="179" y="16"/>
                    <a:pt x="185" y="21"/>
                  </a:cubicBezTo>
                  <a:cubicBezTo>
                    <a:pt x="167" y="37"/>
                    <a:pt x="143" y="56"/>
                    <a:pt x="115" y="72"/>
                  </a:cubicBezTo>
                  <a:cubicBezTo>
                    <a:pt x="74" y="96"/>
                    <a:pt x="33" y="109"/>
                    <a:pt x="10" y="115"/>
                  </a:cubicBezTo>
                  <a:cubicBezTo>
                    <a:pt x="4" y="116"/>
                    <a:pt x="0" y="109"/>
                    <a:pt x="4" y="10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endParaRPr lang="ru-RU"/>
            </a:p>
          </p:txBody>
        </p:sp>
        <p:sp>
          <p:nvSpPr>
            <p:cNvPr id="96" name="îŝ1íḍé">
              <a:extLst>
                <a:ext uri="{FF2B5EF4-FFF2-40B4-BE49-F238E27FC236}">
                  <a16:creationId xmlns="" xmlns:a16="http://schemas.microsoft.com/office/drawing/2014/main" id="{5C1B4F95-139F-4244-922E-89737BB42B50}"/>
                </a:ext>
              </a:extLst>
            </p:cNvPr>
            <p:cNvSpPr/>
            <p:nvPr/>
          </p:nvSpPr>
          <p:spPr bwMode="auto">
            <a:xfrm>
              <a:off x="3703638" y="4603750"/>
              <a:ext cx="206375" cy="1484313"/>
            </a:xfrm>
            <a:custGeom>
              <a:avLst/>
              <a:gdLst>
                <a:gd name="T0" fmla="*/ 27 w 54"/>
                <a:gd name="T1" fmla="*/ 1 h 390"/>
                <a:gd name="T2" fmla="*/ 35 w 54"/>
                <a:gd name="T3" fmla="*/ 0 h 390"/>
                <a:gd name="T4" fmla="*/ 54 w 54"/>
                <a:gd name="T5" fmla="*/ 390 h 390"/>
                <a:gd name="T6" fmla="*/ 0 w 54"/>
                <a:gd name="T7" fmla="*/ 390 h 390"/>
                <a:gd name="T8" fmla="*/ 19 w 54"/>
                <a:gd name="T9" fmla="*/ 0 h 390"/>
                <a:gd name="T10" fmla="*/ 27 w 54"/>
                <a:gd name="T11" fmla="*/ 1 h 3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4" h="390">
                  <a:moveTo>
                    <a:pt x="27" y="1"/>
                  </a:moveTo>
                  <a:cubicBezTo>
                    <a:pt x="30" y="1"/>
                    <a:pt x="33" y="0"/>
                    <a:pt x="35" y="0"/>
                  </a:cubicBezTo>
                  <a:cubicBezTo>
                    <a:pt x="54" y="390"/>
                    <a:pt x="54" y="390"/>
                    <a:pt x="54" y="390"/>
                  </a:cubicBezTo>
                  <a:cubicBezTo>
                    <a:pt x="0" y="390"/>
                    <a:pt x="0" y="390"/>
                    <a:pt x="0" y="39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21" y="0"/>
                    <a:pt x="24" y="1"/>
                    <a:pt x="27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endParaRPr lang="ru-RU"/>
            </a:p>
          </p:txBody>
        </p:sp>
      </p:grpSp>
      <p:grpSp>
        <p:nvGrpSpPr>
          <p:cNvPr id="97" name="ïṡlidè">
            <a:extLst>
              <a:ext uri="{FF2B5EF4-FFF2-40B4-BE49-F238E27FC236}">
                <a16:creationId xmlns="" xmlns:a16="http://schemas.microsoft.com/office/drawing/2014/main" id="{A348EB27-7E96-4685-9F6D-9F3EA9E2971C}"/>
              </a:ext>
            </a:extLst>
          </p:cNvPr>
          <p:cNvGrpSpPr/>
          <p:nvPr userDrawn="1"/>
        </p:nvGrpSpPr>
        <p:grpSpPr>
          <a:xfrm flipH="1">
            <a:off x="6315075" y="4352925"/>
            <a:ext cx="1165225" cy="1835150"/>
            <a:chOff x="4708526" y="4352925"/>
            <a:chExt cx="1165225" cy="1835150"/>
          </a:xfrm>
          <a:solidFill>
            <a:schemeClr val="accent2"/>
          </a:solidFill>
        </p:grpSpPr>
        <p:sp>
          <p:nvSpPr>
            <p:cNvPr id="98" name="íṣḻíḍé">
              <a:extLst>
                <a:ext uri="{FF2B5EF4-FFF2-40B4-BE49-F238E27FC236}">
                  <a16:creationId xmlns="" xmlns:a16="http://schemas.microsoft.com/office/drawing/2014/main" id="{9917B5E2-B2CF-472D-A213-7E11E014FB2C}"/>
                </a:ext>
              </a:extLst>
            </p:cNvPr>
            <p:cNvSpPr/>
            <p:nvPr/>
          </p:nvSpPr>
          <p:spPr bwMode="auto">
            <a:xfrm>
              <a:off x="5207001" y="4935538"/>
              <a:ext cx="171450" cy="171450"/>
            </a:xfrm>
            <a:custGeom>
              <a:avLst/>
              <a:gdLst>
                <a:gd name="T0" fmla="*/ 0 w 45"/>
                <a:gd name="T1" fmla="*/ 22 h 45"/>
                <a:gd name="T2" fmla="*/ 22 w 45"/>
                <a:gd name="T3" fmla="*/ 45 h 45"/>
                <a:gd name="T4" fmla="*/ 45 w 45"/>
                <a:gd name="T5" fmla="*/ 22 h 45"/>
                <a:gd name="T6" fmla="*/ 22 w 45"/>
                <a:gd name="T7" fmla="*/ 0 h 45"/>
                <a:gd name="T8" fmla="*/ 0 w 45"/>
                <a:gd name="T9" fmla="*/ 22 h 45"/>
                <a:gd name="T10" fmla="*/ 15 w 45"/>
                <a:gd name="T11" fmla="*/ 22 h 45"/>
                <a:gd name="T12" fmla="*/ 22 w 45"/>
                <a:gd name="T13" fmla="*/ 15 h 45"/>
                <a:gd name="T14" fmla="*/ 29 w 45"/>
                <a:gd name="T15" fmla="*/ 22 h 45"/>
                <a:gd name="T16" fmla="*/ 22 w 45"/>
                <a:gd name="T17" fmla="*/ 29 h 45"/>
                <a:gd name="T18" fmla="*/ 15 w 45"/>
                <a:gd name="T19" fmla="*/ 22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5" h="45">
                  <a:moveTo>
                    <a:pt x="0" y="22"/>
                  </a:moveTo>
                  <a:cubicBezTo>
                    <a:pt x="0" y="35"/>
                    <a:pt x="10" y="45"/>
                    <a:pt x="22" y="45"/>
                  </a:cubicBezTo>
                  <a:cubicBezTo>
                    <a:pt x="35" y="45"/>
                    <a:pt x="45" y="35"/>
                    <a:pt x="45" y="22"/>
                  </a:cubicBezTo>
                  <a:cubicBezTo>
                    <a:pt x="45" y="10"/>
                    <a:pt x="35" y="0"/>
                    <a:pt x="22" y="0"/>
                  </a:cubicBezTo>
                  <a:cubicBezTo>
                    <a:pt x="10" y="0"/>
                    <a:pt x="0" y="10"/>
                    <a:pt x="0" y="22"/>
                  </a:cubicBezTo>
                  <a:close/>
                  <a:moveTo>
                    <a:pt x="15" y="22"/>
                  </a:moveTo>
                  <a:cubicBezTo>
                    <a:pt x="15" y="18"/>
                    <a:pt x="18" y="15"/>
                    <a:pt x="22" y="15"/>
                  </a:cubicBezTo>
                  <a:cubicBezTo>
                    <a:pt x="26" y="15"/>
                    <a:pt x="29" y="18"/>
                    <a:pt x="29" y="22"/>
                  </a:cubicBezTo>
                  <a:cubicBezTo>
                    <a:pt x="29" y="26"/>
                    <a:pt x="26" y="29"/>
                    <a:pt x="22" y="29"/>
                  </a:cubicBezTo>
                  <a:cubicBezTo>
                    <a:pt x="18" y="29"/>
                    <a:pt x="15" y="26"/>
                    <a:pt x="15" y="2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32500" lnSpcReduction="20000"/>
            </a:bodyPr>
            <a:lstStyle/>
            <a:p>
              <a:endParaRPr lang="ru-RU"/>
            </a:p>
          </p:txBody>
        </p:sp>
        <p:sp>
          <p:nvSpPr>
            <p:cNvPr id="99" name="îšļîḍe">
              <a:extLst>
                <a:ext uri="{FF2B5EF4-FFF2-40B4-BE49-F238E27FC236}">
                  <a16:creationId xmlns="" xmlns:a16="http://schemas.microsoft.com/office/drawing/2014/main" id="{13C482E4-6CFE-4341-9E56-CD57935F440C}"/>
                </a:ext>
              </a:extLst>
            </p:cNvPr>
            <p:cNvSpPr/>
            <p:nvPr/>
          </p:nvSpPr>
          <p:spPr bwMode="auto">
            <a:xfrm>
              <a:off x="5233988" y="4352925"/>
              <a:ext cx="117475" cy="547688"/>
            </a:xfrm>
            <a:custGeom>
              <a:avLst/>
              <a:gdLst>
                <a:gd name="T0" fmla="*/ 15 w 31"/>
                <a:gd name="T1" fmla="*/ 143 h 144"/>
                <a:gd name="T2" fmla="*/ 7 w 31"/>
                <a:gd name="T3" fmla="*/ 144 h 144"/>
                <a:gd name="T4" fmla="*/ 0 w 31"/>
                <a:gd name="T5" fmla="*/ 83 h 144"/>
                <a:gd name="T6" fmla="*/ 11 w 31"/>
                <a:gd name="T7" fmla="*/ 4 h 144"/>
                <a:gd name="T8" fmla="*/ 19 w 31"/>
                <a:gd name="T9" fmla="*/ 4 h 144"/>
                <a:gd name="T10" fmla="*/ 31 w 31"/>
                <a:gd name="T11" fmla="*/ 83 h 144"/>
                <a:gd name="T12" fmla="*/ 24 w 31"/>
                <a:gd name="T13" fmla="*/ 144 h 144"/>
                <a:gd name="T14" fmla="*/ 15 w 31"/>
                <a:gd name="T15" fmla="*/ 143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1" h="144">
                  <a:moveTo>
                    <a:pt x="15" y="143"/>
                  </a:moveTo>
                  <a:cubicBezTo>
                    <a:pt x="12" y="143"/>
                    <a:pt x="10" y="143"/>
                    <a:pt x="7" y="144"/>
                  </a:cubicBezTo>
                  <a:cubicBezTo>
                    <a:pt x="3" y="128"/>
                    <a:pt x="0" y="107"/>
                    <a:pt x="0" y="83"/>
                  </a:cubicBezTo>
                  <a:cubicBezTo>
                    <a:pt x="0" y="50"/>
                    <a:pt x="7" y="20"/>
                    <a:pt x="11" y="4"/>
                  </a:cubicBezTo>
                  <a:cubicBezTo>
                    <a:pt x="12" y="0"/>
                    <a:pt x="18" y="0"/>
                    <a:pt x="19" y="4"/>
                  </a:cubicBezTo>
                  <a:cubicBezTo>
                    <a:pt x="24" y="20"/>
                    <a:pt x="31" y="50"/>
                    <a:pt x="31" y="83"/>
                  </a:cubicBezTo>
                  <a:cubicBezTo>
                    <a:pt x="31" y="107"/>
                    <a:pt x="27" y="128"/>
                    <a:pt x="24" y="144"/>
                  </a:cubicBezTo>
                  <a:cubicBezTo>
                    <a:pt x="21" y="143"/>
                    <a:pt x="18" y="143"/>
                    <a:pt x="15" y="14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endParaRPr lang="ru-RU"/>
            </a:p>
          </p:txBody>
        </p:sp>
        <p:sp>
          <p:nvSpPr>
            <p:cNvPr id="100" name="îṥḻíḑe">
              <a:extLst>
                <a:ext uri="{FF2B5EF4-FFF2-40B4-BE49-F238E27FC236}">
                  <a16:creationId xmlns="" xmlns:a16="http://schemas.microsoft.com/office/drawing/2014/main" id="{BC4DB3DB-9EF5-404C-AE95-BDBE6361D962}"/>
                </a:ext>
              </a:extLst>
            </p:cNvPr>
            <p:cNvSpPr/>
            <p:nvPr/>
          </p:nvSpPr>
          <p:spPr bwMode="auto">
            <a:xfrm>
              <a:off x="5378451" y="5049838"/>
              <a:ext cx="495300" cy="311150"/>
            </a:xfrm>
            <a:custGeom>
              <a:avLst/>
              <a:gdLst>
                <a:gd name="T0" fmla="*/ 9 w 130"/>
                <a:gd name="T1" fmla="*/ 0 h 82"/>
                <a:gd name="T2" fmla="*/ 65 w 130"/>
                <a:gd name="T3" fmla="*/ 25 h 82"/>
                <a:gd name="T4" fmla="*/ 127 w 130"/>
                <a:gd name="T5" fmla="*/ 74 h 82"/>
                <a:gd name="T6" fmla="*/ 123 w 130"/>
                <a:gd name="T7" fmla="*/ 81 h 82"/>
                <a:gd name="T8" fmla="*/ 49 w 130"/>
                <a:gd name="T9" fmla="*/ 51 h 82"/>
                <a:gd name="T10" fmla="*/ 0 w 130"/>
                <a:gd name="T11" fmla="*/ 15 h 82"/>
                <a:gd name="T12" fmla="*/ 9 w 130"/>
                <a:gd name="T13" fmla="*/ 0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0" h="82">
                  <a:moveTo>
                    <a:pt x="9" y="0"/>
                  </a:moveTo>
                  <a:cubicBezTo>
                    <a:pt x="24" y="5"/>
                    <a:pt x="44" y="13"/>
                    <a:pt x="65" y="25"/>
                  </a:cubicBezTo>
                  <a:cubicBezTo>
                    <a:pt x="94" y="42"/>
                    <a:pt x="116" y="62"/>
                    <a:pt x="127" y="74"/>
                  </a:cubicBezTo>
                  <a:cubicBezTo>
                    <a:pt x="130" y="77"/>
                    <a:pt x="127" y="82"/>
                    <a:pt x="123" y="81"/>
                  </a:cubicBezTo>
                  <a:cubicBezTo>
                    <a:pt x="107" y="77"/>
                    <a:pt x="78" y="68"/>
                    <a:pt x="49" y="51"/>
                  </a:cubicBezTo>
                  <a:cubicBezTo>
                    <a:pt x="29" y="40"/>
                    <a:pt x="12" y="26"/>
                    <a:pt x="0" y="15"/>
                  </a:cubicBezTo>
                  <a:cubicBezTo>
                    <a:pt x="4" y="11"/>
                    <a:pt x="7" y="6"/>
                    <a:pt x="9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92500" lnSpcReduction="20000"/>
            </a:bodyPr>
            <a:lstStyle/>
            <a:p>
              <a:endParaRPr lang="ru-RU"/>
            </a:p>
          </p:txBody>
        </p:sp>
        <p:sp>
          <p:nvSpPr>
            <p:cNvPr id="101" name="ïşḷîďê">
              <a:extLst>
                <a:ext uri="{FF2B5EF4-FFF2-40B4-BE49-F238E27FC236}">
                  <a16:creationId xmlns="" xmlns:a16="http://schemas.microsoft.com/office/drawing/2014/main" id="{31B5AA18-6261-4F42-A210-0DFFD31043B1}"/>
                </a:ext>
              </a:extLst>
            </p:cNvPr>
            <p:cNvSpPr/>
            <p:nvPr/>
          </p:nvSpPr>
          <p:spPr bwMode="auto">
            <a:xfrm>
              <a:off x="4708526" y="5049838"/>
              <a:ext cx="498475" cy="311150"/>
            </a:xfrm>
            <a:custGeom>
              <a:avLst/>
              <a:gdLst>
                <a:gd name="T0" fmla="*/ 3 w 131"/>
                <a:gd name="T1" fmla="*/ 74 h 82"/>
                <a:gd name="T2" fmla="*/ 66 w 131"/>
                <a:gd name="T3" fmla="*/ 25 h 82"/>
                <a:gd name="T4" fmla="*/ 122 w 131"/>
                <a:gd name="T5" fmla="*/ 0 h 82"/>
                <a:gd name="T6" fmla="*/ 131 w 131"/>
                <a:gd name="T7" fmla="*/ 15 h 82"/>
                <a:gd name="T8" fmla="*/ 81 w 131"/>
                <a:gd name="T9" fmla="*/ 51 h 82"/>
                <a:gd name="T10" fmla="*/ 7 w 131"/>
                <a:gd name="T11" fmla="*/ 81 h 82"/>
                <a:gd name="T12" fmla="*/ 3 w 131"/>
                <a:gd name="T13" fmla="*/ 74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1" h="82">
                  <a:moveTo>
                    <a:pt x="3" y="74"/>
                  </a:moveTo>
                  <a:cubicBezTo>
                    <a:pt x="15" y="62"/>
                    <a:pt x="37" y="42"/>
                    <a:pt x="66" y="25"/>
                  </a:cubicBezTo>
                  <a:cubicBezTo>
                    <a:pt x="86" y="13"/>
                    <a:pt x="106" y="5"/>
                    <a:pt x="122" y="0"/>
                  </a:cubicBezTo>
                  <a:cubicBezTo>
                    <a:pt x="124" y="6"/>
                    <a:pt x="127" y="11"/>
                    <a:pt x="131" y="15"/>
                  </a:cubicBezTo>
                  <a:cubicBezTo>
                    <a:pt x="118" y="26"/>
                    <a:pt x="101" y="40"/>
                    <a:pt x="81" y="51"/>
                  </a:cubicBezTo>
                  <a:cubicBezTo>
                    <a:pt x="52" y="68"/>
                    <a:pt x="24" y="77"/>
                    <a:pt x="7" y="81"/>
                  </a:cubicBezTo>
                  <a:cubicBezTo>
                    <a:pt x="3" y="82"/>
                    <a:pt x="0" y="77"/>
                    <a:pt x="3" y="7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92500" lnSpcReduction="20000"/>
            </a:bodyPr>
            <a:lstStyle/>
            <a:p>
              <a:endParaRPr lang="ru-RU"/>
            </a:p>
          </p:txBody>
        </p:sp>
        <p:sp>
          <p:nvSpPr>
            <p:cNvPr id="102" name="îṡļïde">
              <a:extLst>
                <a:ext uri="{FF2B5EF4-FFF2-40B4-BE49-F238E27FC236}">
                  <a16:creationId xmlns="" xmlns:a16="http://schemas.microsoft.com/office/drawing/2014/main" id="{9F171BD7-D5FD-469D-9427-C5D66E825994}"/>
                </a:ext>
              </a:extLst>
            </p:cNvPr>
            <p:cNvSpPr/>
            <p:nvPr/>
          </p:nvSpPr>
          <p:spPr bwMode="auto">
            <a:xfrm>
              <a:off x="5222876" y="5140325"/>
              <a:ext cx="139700" cy="1047750"/>
            </a:xfrm>
            <a:custGeom>
              <a:avLst/>
              <a:gdLst>
                <a:gd name="T0" fmla="*/ 18 w 37"/>
                <a:gd name="T1" fmla="*/ 1 h 275"/>
                <a:gd name="T2" fmla="*/ 24 w 37"/>
                <a:gd name="T3" fmla="*/ 0 h 275"/>
                <a:gd name="T4" fmla="*/ 37 w 37"/>
                <a:gd name="T5" fmla="*/ 275 h 275"/>
                <a:gd name="T6" fmla="*/ 0 w 37"/>
                <a:gd name="T7" fmla="*/ 275 h 275"/>
                <a:gd name="T8" fmla="*/ 12 w 37"/>
                <a:gd name="T9" fmla="*/ 0 h 275"/>
                <a:gd name="T10" fmla="*/ 18 w 37"/>
                <a:gd name="T11" fmla="*/ 1 h 2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7" h="275">
                  <a:moveTo>
                    <a:pt x="18" y="1"/>
                  </a:moveTo>
                  <a:cubicBezTo>
                    <a:pt x="20" y="1"/>
                    <a:pt x="22" y="0"/>
                    <a:pt x="24" y="0"/>
                  </a:cubicBezTo>
                  <a:cubicBezTo>
                    <a:pt x="37" y="275"/>
                    <a:pt x="37" y="275"/>
                    <a:pt x="37" y="275"/>
                  </a:cubicBezTo>
                  <a:cubicBezTo>
                    <a:pt x="0" y="275"/>
                    <a:pt x="0" y="275"/>
                    <a:pt x="0" y="275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4" y="0"/>
                    <a:pt x="16" y="1"/>
                    <a:pt x="18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endParaRPr lang="ru-RU"/>
            </a:p>
          </p:txBody>
        </p:sp>
      </p:grpSp>
      <p:sp>
        <p:nvSpPr>
          <p:cNvPr id="103" name="îslîḋê">
            <a:extLst>
              <a:ext uri="{FF2B5EF4-FFF2-40B4-BE49-F238E27FC236}">
                <a16:creationId xmlns="" xmlns:a16="http://schemas.microsoft.com/office/drawing/2014/main" id="{DCE20565-2A46-44FE-BA7F-54A048ABDDDC}"/>
              </a:ext>
            </a:extLst>
          </p:cNvPr>
          <p:cNvSpPr/>
          <p:nvPr userDrawn="1"/>
        </p:nvSpPr>
        <p:spPr bwMode="auto">
          <a:xfrm flipH="1">
            <a:off x="4763" y="5334000"/>
            <a:ext cx="12179300" cy="1489075"/>
          </a:xfrm>
          <a:custGeom>
            <a:avLst/>
            <a:gdLst>
              <a:gd name="T0" fmla="*/ 0 w 3200"/>
              <a:gd name="T1" fmla="*/ 129 h 391"/>
              <a:gd name="T2" fmla="*/ 3200 w 3200"/>
              <a:gd name="T3" fmla="*/ 0 h 391"/>
              <a:gd name="T4" fmla="*/ 3200 w 3200"/>
              <a:gd name="T5" fmla="*/ 268 h 391"/>
              <a:gd name="T6" fmla="*/ 0 w 3200"/>
              <a:gd name="T7" fmla="*/ 264 h 391"/>
              <a:gd name="T8" fmla="*/ 0 w 3200"/>
              <a:gd name="T9" fmla="*/ 129 h 3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200" h="391">
                <a:moveTo>
                  <a:pt x="0" y="129"/>
                </a:moveTo>
                <a:cubicBezTo>
                  <a:pt x="217" y="129"/>
                  <a:pt x="2396" y="272"/>
                  <a:pt x="3200" y="0"/>
                </a:cubicBezTo>
                <a:cubicBezTo>
                  <a:pt x="3200" y="391"/>
                  <a:pt x="3200" y="268"/>
                  <a:pt x="3200" y="268"/>
                </a:cubicBezTo>
                <a:cubicBezTo>
                  <a:pt x="0" y="264"/>
                  <a:pt x="0" y="264"/>
                  <a:pt x="0" y="264"/>
                </a:cubicBezTo>
                <a:lnTo>
                  <a:pt x="0" y="129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endParaRPr lang="ru-RU"/>
          </a:p>
        </p:txBody>
      </p:sp>
      <p:sp>
        <p:nvSpPr>
          <p:cNvPr id="104" name="iṥliḍè">
            <a:extLst>
              <a:ext uri="{FF2B5EF4-FFF2-40B4-BE49-F238E27FC236}">
                <a16:creationId xmlns="" xmlns:a16="http://schemas.microsoft.com/office/drawing/2014/main" id="{E56648C9-91F5-4477-8772-C42F98C9A5C6}"/>
              </a:ext>
            </a:extLst>
          </p:cNvPr>
          <p:cNvSpPr/>
          <p:nvPr userDrawn="1"/>
        </p:nvSpPr>
        <p:spPr bwMode="auto">
          <a:xfrm flipH="1">
            <a:off x="4763" y="5087938"/>
            <a:ext cx="12179300" cy="1770063"/>
          </a:xfrm>
          <a:custGeom>
            <a:avLst/>
            <a:gdLst>
              <a:gd name="T0" fmla="*/ 3200 w 3200"/>
              <a:gd name="T1" fmla="*/ 331 h 465"/>
              <a:gd name="T2" fmla="*/ 0 w 3200"/>
              <a:gd name="T3" fmla="*/ 0 h 465"/>
              <a:gd name="T4" fmla="*/ 0 w 3200"/>
              <a:gd name="T5" fmla="*/ 465 h 465"/>
              <a:gd name="T6" fmla="*/ 3200 w 3200"/>
              <a:gd name="T7" fmla="*/ 465 h 465"/>
              <a:gd name="T8" fmla="*/ 3200 w 3200"/>
              <a:gd name="T9" fmla="*/ 331 h 46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200" h="465">
                <a:moveTo>
                  <a:pt x="3200" y="331"/>
                </a:moveTo>
                <a:cubicBezTo>
                  <a:pt x="2983" y="331"/>
                  <a:pt x="804" y="273"/>
                  <a:pt x="0" y="0"/>
                </a:cubicBezTo>
                <a:cubicBezTo>
                  <a:pt x="0" y="392"/>
                  <a:pt x="0" y="465"/>
                  <a:pt x="0" y="465"/>
                </a:cubicBezTo>
                <a:cubicBezTo>
                  <a:pt x="3200" y="465"/>
                  <a:pt x="3200" y="465"/>
                  <a:pt x="3200" y="465"/>
                </a:cubicBezTo>
                <a:lnTo>
                  <a:pt x="3200" y="331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786584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>
            <a:extLst>
              <a:ext uri="{FF2B5EF4-FFF2-40B4-BE49-F238E27FC236}">
                <a16:creationId xmlns="" xmlns:a16="http://schemas.microsoft.com/office/drawing/2014/main" id="{9888B6D7-9D3F-49D7-BACE-73A9D1149A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pPr/>
              <a:t>2019/11/25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="" xmlns:a16="http://schemas.microsoft.com/office/drawing/2014/main" id="{7AC997A4-1DD8-4731-B9FD-42398A20FF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5" name="灯片编号占位符 4">
            <a:extLst>
              <a:ext uri="{FF2B5EF4-FFF2-40B4-BE49-F238E27FC236}">
                <a16:creationId xmlns="" xmlns:a16="http://schemas.microsoft.com/office/drawing/2014/main" id="{DBA9825E-1876-42AD-ABCF-E0E100F351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8" name="内容占位符 7">
            <a:extLst>
              <a:ext uri="{FF2B5EF4-FFF2-40B4-BE49-F238E27FC236}">
                <a16:creationId xmlns="" xmlns:a16="http://schemas.microsoft.com/office/drawing/2014/main" id="{2070191C-4093-409C-8FD5-7369A79637A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4" y="719417"/>
            <a:ext cx="11089949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任意多边形 8"/>
          <p:cNvSpPr/>
          <p:nvPr userDrawn="1"/>
        </p:nvSpPr>
        <p:spPr>
          <a:xfrm flipH="1" flipV="1">
            <a:off x="-10623" y="-1"/>
            <a:ext cx="767368" cy="708193"/>
          </a:xfrm>
          <a:custGeom>
            <a:avLst/>
            <a:gdLst>
              <a:gd name="connsiteX0" fmla="*/ 2658701 w 3945155"/>
              <a:gd name="connsiteY0" fmla="*/ 38 h 3640926"/>
              <a:gd name="connsiteX1" fmla="*/ 3857730 w 3945155"/>
              <a:gd name="connsiteY1" fmla="*/ 295953 h 3640926"/>
              <a:gd name="connsiteX2" fmla="*/ 3945155 w 3945155"/>
              <a:gd name="connsiteY2" fmla="*/ 345547 h 3640926"/>
              <a:gd name="connsiteX3" fmla="*/ 3945155 w 3945155"/>
              <a:gd name="connsiteY3" fmla="*/ 3640926 h 3640926"/>
              <a:gd name="connsiteX4" fmla="*/ 197308 w 3945155"/>
              <a:gd name="connsiteY4" fmla="*/ 3640926 h 3640926"/>
              <a:gd name="connsiteX5" fmla="*/ 115817 w 3945155"/>
              <a:gd name="connsiteY5" fmla="*/ 3415355 h 3640926"/>
              <a:gd name="connsiteX6" fmla="*/ 1872266 w 3945155"/>
              <a:gd name="connsiteY6" fmla="*/ 115818 h 3640926"/>
              <a:gd name="connsiteX7" fmla="*/ 2658701 w 3945155"/>
              <a:gd name="connsiteY7" fmla="*/ 38 h 36409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945155" h="3640926">
                <a:moveTo>
                  <a:pt x="2658701" y="38"/>
                </a:moveTo>
                <a:cubicBezTo>
                  <a:pt x="3081233" y="2289"/>
                  <a:pt x="3491585" y="106610"/>
                  <a:pt x="3857730" y="295953"/>
                </a:cubicBezTo>
                <a:lnTo>
                  <a:pt x="3945155" y="345547"/>
                </a:lnTo>
                <a:lnTo>
                  <a:pt x="3945155" y="3640926"/>
                </a:lnTo>
                <a:lnTo>
                  <a:pt x="197308" y="3640926"/>
                </a:lnTo>
                <a:lnTo>
                  <a:pt x="115817" y="3415355"/>
                </a:lnTo>
                <a:cubicBezTo>
                  <a:pt x="-310295" y="2019184"/>
                  <a:pt x="476094" y="541930"/>
                  <a:pt x="1872266" y="115818"/>
                </a:cubicBezTo>
                <a:cubicBezTo>
                  <a:pt x="2134048" y="35922"/>
                  <a:pt x="2398681" y="-1347"/>
                  <a:pt x="2658701" y="38"/>
                </a:cubicBezTo>
                <a:close/>
              </a:path>
            </a:pathLst>
          </a:custGeom>
          <a:gradFill>
            <a:gsLst>
              <a:gs pos="0">
                <a:schemeClr val="accent4"/>
              </a:gs>
              <a:gs pos="100000">
                <a:schemeClr val="accent2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10" name="图片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92437" y="149862"/>
            <a:ext cx="1694330" cy="477648"/>
          </a:xfrm>
          <a:prstGeom prst="rect">
            <a:avLst/>
          </a:prstGeom>
        </p:spPr>
      </p:pic>
      <p:sp>
        <p:nvSpPr>
          <p:cNvPr id="11" name="îslîḋê">
            <a:extLst>
              <a:ext uri="{FF2B5EF4-FFF2-40B4-BE49-F238E27FC236}">
                <a16:creationId xmlns="" xmlns:a16="http://schemas.microsoft.com/office/drawing/2014/main" id="{DCE20565-2A46-44FE-BA7F-54A048ABDDDC}"/>
              </a:ext>
            </a:extLst>
          </p:cNvPr>
          <p:cNvSpPr/>
          <p:nvPr userDrawn="1"/>
        </p:nvSpPr>
        <p:spPr bwMode="auto">
          <a:xfrm>
            <a:off x="4762" y="6347012"/>
            <a:ext cx="12187237" cy="502957"/>
          </a:xfrm>
          <a:custGeom>
            <a:avLst/>
            <a:gdLst>
              <a:gd name="T0" fmla="*/ 0 w 3200"/>
              <a:gd name="T1" fmla="*/ 129 h 391"/>
              <a:gd name="T2" fmla="*/ 3200 w 3200"/>
              <a:gd name="T3" fmla="*/ 0 h 391"/>
              <a:gd name="T4" fmla="*/ 3200 w 3200"/>
              <a:gd name="T5" fmla="*/ 268 h 391"/>
              <a:gd name="T6" fmla="*/ 0 w 3200"/>
              <a:gd name="T7" fmla="*/ 264 h 391"/>
              <a:gd name="T8" fmla="*/ 0 w 3200"/>
              <a:gd name="T9" fmla="*/ 129 h 3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200" h="391">
                <a:moveTo>
                  <a:pt x="0" y="129"/>
                </a:moveTo>
                <a:cubicBezTo>
                  <a:pt x="217" y="129"/>
                  <a:pt x="2396" y="272"/>
                  <a:pt x="3200" y="0"/>
                </a:cubicBezTo>
                <a:cubicBezTo>
                  <a:pt x="3200" y="391"/>
                  <a:pt x="3200" y="268"/>
                  <a:pt x="3200" y="268"/>
                </a:cubicBezTo>
                <a:cubicBezTo>
                  <a:pt x="0" y="264"/>
                  <a:pt x="0" y="264"/>
                  <a:pt x="0" y="264"/>
                </a:cubicBezTo>
                <a:lnTo>
                  <a:pt x="0" y="129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endParaRPr lang="ru-RU"/>
          </a:p>
        </p:txBody>
      </p:sp>
      <p:sp>
        <p:nvSpPr>
          <p:cNvPr id="12" name="iṥliḍè">
            <a:extLst>
              <a:ext uri="{FF2B5EF4-FFF2-40B4-BE49-F238E27FC236}">
                <a16:creationId xmlns="" xmlns:a16="http://schemas.microsoft.com/office/drawing/2014/main" id="{E56648C9-91F5-4477-8772-C42F98C9A5C6}"/>
              </a:ext>
            </a:extLst>
          </p:cNvPr>
          <p:cNvSpPr/>
          <p:nvPr userDrawn="1"/>
        </p:nvSpPr>
        <p:spPr bwMode="auto">
          <a:xfrm>
            <a:off x="4762" y="6262166"/>
            <a:ext cx="12187237" cy="601250"/>
          </a:xfrm>
          <a:custGeom>
            <a:avLst/>
            <a:gdLst>
              <a:gd name="T0" fmla="*/ 3200 w 3200"/>
              <a:gd name="T1" fmla="*/ 331 h 465"/>
              <a:gd name="T2" fmla="*/ 0 w 3200"/>
              <a:gd name="T3" fmla="*/ 0 h 465"/>
              <a:gd name="T4" fmla="*/ 0 w 3200"/>
              <a:gd name="T5" fmla="*/ 465 h 465"/>
              <a:gd name="T6" fmla="*/ 3200 w 3200"/>
              <a:gd name="T7" fmla="*/ 465 h 465"/>
              <a:gd name="T8" fmla="*/ 3200 w 3200"/>
              <a:gd name="T9" fmla="*/ 331 h 46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200" h="465">
                <a:moveTo>
                  <a:pt x="3200" y="331"/>
                </a:moveTo>
                <a:cubicBezTo>
                  <a:pt x="2983" y="331"/>
                  <a:pt x="804" y="273"/>
                  <a:pt x="0" y="0"/>
                </a:cubicBezTo>
                <a:cubicBezTo>
                  <a:pt x="0" y="392"/>
                  <a:pt x="0" y="465"/>
                  <a:pt x="0" y="465"/>
                </a:cubicBezTo>
                <a:cubicBezTo>
                  <a:pt x="3200" y="465"/>
                  <a:pt x="3200" y="465"/>
                  <a:pt x="3200" y="465"/>
                </a:cubicBezTo>
                <a:lnTo>
                  <a:pt x="3200" y="331"/>
                </a:lnTo>
                <a:close/>
              </a:path>
            </a:pathLst>
          </a:custGeom>
          <a:solidFill>
            <a:srgbClr val="1E437A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7759340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8" name="isḷidé">
            <a:extLst>
              <a:ext uri="{FF2B5EF4-FFF2-40B4-BE49-F238E27FC236}">
                <a16:creationId xmlns="" xmlns:a16="http://schemas.microsoft.com/office/drawing/2014/main" id="{421A1E40-8FE0-4B19-A050-BAF4E001F5BD}"/>
              </a:ext>
            </a:extLst>
          </p:cNvPr>
          <p:cNvGrpSpPr/>
          <p:nvPr userDrawn="1"/>
        </p:nvGrpSpPr>
        <p:grpSpPr>
          <a:xfrm flipH="1">
            <a:off x="9384883" y="5032755"/>
            <a:ext cx="2807116" cy="1687220"/>
            <a:chOff x="107951" y="2128838"/>
            <a:chExt cx="6645275" cy="3994150"/>
          </a:xfrm>
          <a:solidFill>
            <a:schemeClr val="accent5">
              <a:lumMod val="20000"/>
              <a:lumOff val="80000"/>
            </a:schemeClr>
          </a:solidFill>
        </p:grpSpPr>
        <p:sp>
          <p:nvSpPr>
            <p:cNvPr id="39" name="íŝḻïḓè">
              <a:extLst>
                <a:ext uri="{FF2B5EF4-FFF2-40B4-BE49-F238E27FC236}">
                  <a16:creationId xmlns="" xmlns:a16="http://schemas.microsoft.com/office/drawing/2014/main" id="{AE1CA999-4493-428F-ACF7-BA8F6B7DFE09}"/>
                </a:ext>
              </a:extLst>
            </p:cNvPr>
            <p:cNvSpPr/>
            <p:nvPr/>
          </p:nvSpPr>
          <p:spPr bwMode="auto">
            <a:xfrm>
              <a:off x="1074738" y="3060700"/>
              <a:ext cx="844550" cy="3062288"/>
            </a:xfrm>
            <a:custGeom>
              <a:avLst/>
              <a:gdLst>
                <a:gd name="T0" fmla="*/ 0 w 532"/>
                <a:gd name="T1" fmla="*/ 355 h 1929"/>
                <a:gd name="T2" fmla="*/ 0 w 532"/>
                <a:gd name="T3" fmla="*/ 1929 h 1929"/>
                <a:gd name="T4" fmla="*/ 532 w 532"/>
                <a:gd name="T5" fmla="*/ 1929 h 1929"/>
                <a:gd name="T6" fmla="*/ 532 w 532"/>
                <a:gd name="T7" fmla="*/ 0 h 1929"/>
                <a:gd name="T8" fmla="*/ 0 w 532"/>
                <a:gd name="T9" fmla="*/ 355 h 1929"/>
                <a:gd name="T10" fmla="*/ 69 w 532"/>
                <a:gd name="T11" fmla="*/ 1502 h 1929"/>
                <a:gd name="T12" fmla="*/ 462 w 532"/>
                <a:gd name="T13" fmla="*/ 1502 h 1929"/>
                <a:gd name="T14" fmla="*/ 462 w 532"/>
                <a:gd name="T15" fmla="*/ 1543 h 1929"/>
                <a:gd name="T16" fmla="*/ 69 w 532"/>
                <a:gd name="T17" fmla="*/ 1543 h 1929"/>
                <a:gd name="T18" fmla="*/ 69 w 532"/>
                <a:gd name="T19" fmla="*/ 1502 h 1929"/>
                <a:gd name="T20" fmla="*/ 69 w 532"/>
                <a:gd name="T21" fmla="*/ 1387 h 1929"/>
                <a:gd name="T22" fmla="*/ 462 w 532"/>
                <a:gd name="T23" fmla="*/ 1387 h 1929"/>
                <a:gd name="T24" fmla="*/ 462 w 532"/>
                <a:gd name="T25" fmla="*/ 1428 h 1929"/>
                <a:gd name="T26" fmla="*/ 69 w 532"/>
                <a:gd name="T27" fmla="*/ 1428 h 1929"/>
                <a:gd name="T28" fmla="*/ 69 w 532"/>
                <a:gd name="T29" fmla="*/ 1387 h 1929"/>
                <a:gd name="T30" fmla="*/ 69 w 532"/>
                <a:gd name="T31" fmla="*/ 1272 h 1929"/>
                <a:gd name="T32" fmla="*/ 462 w 532"/>
                <a:gd name="T33" fmla="*/ 1272 h 1929"/>
                <a:gd name="T34" fmla="*/ 462 w 532"/>
                <a:gd name="T35" fmla="*/ 1315 h 1929"/>
                <a:gd name="T36" fmla="*/ 69 w 532"/>
                <a:gd name="T37" fmla="*/ 1315 h 1929"/>
                <a:gd name="T38" fmla="*/ 69 w 532"/>
                <a:gd name="T39" fmla="*/ 1272 h 1929"/>
                <a:gd name="T40" fmla="*/ 69 w 532"/>
                <a:gd name="T41" fmla="*/ 1157 h 1929"/>
                <a:gd name="T42" fmla="*/ 462 w 532"/>
                <a:gd name="T43" fmla="*/ 1157 h 1929"/>
                <a:gd name="T44" fmla="*/ 462 w 532"/>
                <a:gd name="T45" fmla="*/ 1200 h 1929"/>
                <a:gd name="T46" fmla="*/ 69 w 532"/>
                <a:gd name="T47" fmla="*/ 1200 h 1929"/>
                <a:gd name="T48" fmla="*/ 69 w 532"/>
                <a:gd name="T49" fmla="*/ 1157 h 1929"/>
                <a:gd name="T50" fmla="*/ 69 w 532"/>
                <a:gd name="T51" fmla="*/ 1044 h 1929"/>
                <a:gd name="T52" fmla="*/ 462 w 532"/>
                <a:gd name="T53" fmla="*/ 1044 h 1929"/>
                <a:gd name="T54" fmla="*/ 462 w 532"/>
                <a:gd name="T55" fmla="*/ 1085 h 1929"/>
                <a:gd name="T56" fmla="*/ 69 w 532"/>
                <a:gd name="T57" fmla="*/ 1085 h 1929"/>
                <a:gd name="T58" fmla="*/ 69 w 532"/>
                <a:gd name="T59" fmla="*/ 1044 h 1929"/>
                <a:gd name="T60" fmla="*/ 69 w 532"/>
                <a:gd name="T61" fmla="*/ 929 h 1929"/>
                <a:gd name="T62" fmla="*/ 462 w 532"/>
                <a:gd name="T63" fmla="*/ 929 h 1929"/>
                <a:gd name="T64" fmla="*/ 462 w 532"/>
                <a:gd name="T65" fmla="*/ 969 h 1929"/>
                <a:gd name="T66" fmla="*/ 69 w 532"/>
                <a:gd name="T67" fmla="*/ 969 h 1929"/>
                <a:gd name="T68" fmla="*/ 69 w 532"/>
                <a:gd name="T69" fmla="*/ 929 h 1929"/>
                <a:gd name="T70" fmla="*/ 69 w 532"/>
                <a:gd name="T71" fmla="*/ 814 h 1929"/>
                <a:gd name="T72" fmla="*/ 462 w 532"/>
                <a:gd name="T73" fmla="*/ 814 h 1929"/>
                <a:gd name="T74" fmla="*/ 462 w 532"/>
                <a:gd name="T75" fmla="*/ 854 h 1929"/>
                <a:gd name="T76" fmla="*/ 69 w 532"/>
                <a:gd name="T77" fmla="*/ 854 h 1929"/>
                <a:gd name="T78" fmla="*/ 69 w 532"/>
                <a:gd name="T79" fmla="*/ 814 h 1929"/>
                <a:gd name="T80" fmla="*/ 69 w 532"/>
                <a:gd name="T81" fmla="*/ 698 h 1929"/>
                <a:gd name="T82" fmla="*/ 462 w 532"/>
                <a:gd name="T83" fmla="*/ 698 h 1929"/>
                <a:gd name="T84" fmla="*/ 462 w 532"/>
                <a:gd name="T85" fmla="*/ 739 h 1929"/>
                <a:gd name="T86" fmla="*/ 69 w 532"/>
                <a:gd name="T87" fmla="*/ 739 h 1929"/>
                <a:gd name="T88" fmla="*/ 69 w 532"/>
                <a:gd name="T89" fmla="*/ 698 h 1929"/>
                <a:gd name="T90" fmla="*/ 69 w 532"/>
                <a:gd name="T91" fmla="*/ 583 h 1929"/>
                <a:gd name="T92" fmla="*/ 462 w 532"/>
                <a:gd name="T93" fmla="*/ 583 h 1929"/>
                <a:gd name="T94" fmla="*/ 462 w 532"/>
                <a:gd name="T95" fmla="*/ 626 h 1929"/>
                <a:gd name="T96" fmla="*/ 69 w 532"/>
                <a:gd name="T97" fmla="*/ 626 h 1929"/>
                <a:gd name="T98" fmla="*/ 69 w 532"/>
                <a:gd name="T99" fmla="*/ 583 h 1929"/>
                <a:gd name="T100" fmla="*/ 69 w 532"/>
                <a:gd name="T101" fmla="*/ 468 h 1929"/>
                <a:gd name="T102" fmla="*/ 462 w 532"/>
                <a:gd name="T103" fmla="*/ 468 h 1929"/>
                <a:gd name="T104" fmla="*/ 462 w 532"/>
                <a:gd name="T105" fmla="*/ 511 h 1929"/>
                <a:gd name="T106" fmla="*/ 69 w 532"/>
                <a:gd name="T107" fmla="*/ 511 h 1929"/>
                <a:gd name="T108" fmla="*/ 69 w 532"/>
                <a:gd name="T109" fmla="*/ 468 h 19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532" h="1929">
                  <a:moveTo>
                    <a:pt x="0" y="355"/>
                  </a:moveTo>
                  <a:lnTo>
                    <a:pt x="0" y="1929"/>
                  </a:lnTo>
                  <a:lnTo>
                    <a:pt x="532" y="1929"/>
                  </a:lnTo>
                  <a:lnTo>
                    <a:pt x="532" y="0"/>
                  </a:lnTo>
                  <a:lnTo>
                    <a:pt x="0" y="355"/>
                  </a:lnTo>
                  <a:close/>
                  <a:moveTo>
                    <a:pt x="69" y="1502"/>
                  </a:moveTo>
                  <a:lnTo>
                    <a:pt x="462" y="1502"/>
                  </a:lnTo>
                  <a:lnTo>
                    <a:pt x="462" y="1543"/>
                  </a:lnTo>
                  <a:lnTo>
                    <a:pt x="69" y="1543"/>
                  </a:lnTo>
                  <a:lnTo>
                    <a:pt x="69" y="1502"/>
                  </a:lnTo>
                  <a:close/>
                  <a:moveTo>
                    <a:pt x="69" y="1387"/>
                  </a:moveTo>
                  <a:lnTo>
                    <a:pt x="462" y="1387"/>
                  </a:lnTo>
                  <a:lnTo>
                    <a:pt x="462" y="1428"/>
                  </a:lnTo>
                  <a:lnTo>
                    <a:pt x="69" y="1428"/>
                  </a:lnTo>
                  <a:lnTo>
                    <a:pt x="69" y="1387"/>
                  </a:lnTo>
                  <a:close/>
                  <a:moveTo>
                    <a:pt x="69" y="1272"/>
                  </a:moveTo>
                  <a:lnTo>
                    <a:pt x="462" y="1272"/>
                  </a:lnTo>
                  <a:lnTo>
                    <a:pt x="462" y="1315"/>
                  </a:lnTo>
                  <a:lnTo>
                    <a:pt x="69" y="1315"/>
                  </a:lnTo>
                  <a:lnTo>
                    <a:pt x="69" y="1272"/>
                  </a:lnTo>
                  <a:close/>
                  <a:moveTo>
                    <a:pt x="69" y="1157"/>
                  </a:moveTo>
                  <a:lnTo>
                    <a:pt x="462" y="1157"/>
                  </a:lnTo>
                  <a:lnTo>
                    <a:pt x="462" y="1200"/>
                  </a:lnTo>
                  <a:lnTo>
                    <a:pt x="69" y="1200"/>
                  </a:lnTo>
                  <a:lnTo>
                    <a:pt x="69" y="1157"/>
                  </a:lnTo>
                  <a:close/>
                  <a:moveTo>
                    <a:pt x="69" y="1044"/>
                  </a:moveTo>
                  <a:lnTo>
                    <a:pt x="462" y="1044"/>
                  </a:lnTo>
                  <a:lnTo>
                    <a:pt x="462" y="1085"/>
                  </a:lnTo>
                  <a:lnTo>
                    <a:pt x="69" y="1085"/>
                  </a:lnTo>
                  <a:lnTo>
                    <a:pt x="69" y="1044"/>
                  </a:lnTo>
                  <a:close/>
                  <a:moveTo>
                    <a:pt x="69" y="929"/>
                  </a:moveTo>
                  <a:lnTo>
                    <a:pt x="462" y="929"/>
                  </a:lnTo>
                  <a:lnTo>
                    <a:pt x="462" y="969"/>
                  </a:lnTo>
                  <a:lnTo>
                    <a:pt x="69" y="969"/>
                  </a:lnTo>
                  <a:lnTo>
                    <a:pt x="69" y="929"/>
                  </a:lnTo>
                  <a:close/>
                  <a:moveTo>
                    <a:pt x="69" y="814"/>
                  </a:moveTo>
                  <a:lnTo>
                    <a:pt x="462" y="814"/>
                  </a:lnTo>
                  <a:lnTo>
                    <a:pt x="462" y="854"/>
                  </a:lnTo>
                  <a:lnTo>
                    <a:pt x="69" y="854"/>
                  </a:lnTo>
                  <a:lnTo>
                    <a:pt x="69" y="814"/>
                  </a:lnTo>
                  <a:close/>
                  <a:moveTo>
                    <a:pt x="69" y="698"/>
                  </a:moveTo>
                  <a:lnTo>
                    <a:pt x="462" y="698"/>
                  </a:lnTo>
                  <a:lnTo>
                    <a:pt x="462" y="739"/>
                  </a:lnTo>
                  <a:lnTo>
                    <a:pt x="69" y="739"/>
                  </a:lnTo>
                  <a:lnTo>
                    <a:pt x="69" y="698"/>
                  </a:lnTo>
                  <a:close/>
                  <a:moveTo>
                    <a:pt x="69" y="583"/>
                  </a:moveTo>
                  <a:lnTo>
                    <a:pt x="462" y="583"/>
                  </a:lnTo>
                  <a:lnTo>
                    <a:pt x="462" y="626"/>
                  </a:lnTo>
                  <a:lnTo>
                    <a:pt x="69" y="626"/>
                  </a:lnTo>
                  <a:lnTo>
                    <a:pt x="69" y="583"/>
                  </a:lnTo>
                  <a:close/>
                  <a:moveTo>
                    <a:pt x="69" y="468"/>
                  </a:moveTo>
                  <a:lnTo>
                    <a:pt x="462" y="468"/>
                  </a:lnTo>
                  <a:lnTo>
                    <a:pt x="462" y="511"/>
                  </a:lnTo>
                  <a:lnTo>
                    <a:pt x="69" y="511"/>
                  </a:lnTo>
                  <a:lnTo>
                    <a:pt x="69" y="46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endParaRPr lang="ru-RU"/>
            </a:p>
          </p:txBody>
        </p:sp>
        <p:sp>
          <p:nvSpPr>
            <p:cNvPr id="40" name="iŝļïďe">
              <a:extLst>
                <a:ext uri="{FF2B5EF4-FFF2-40B4-BE49-F238E27FC236}">
                  <a16:creationId xmlns="" xmlns:a16="http://schemas.microsoft.com/office/drawing/2014/main" id="{E1CDC87C-6C78-4C46-9BD6-4E28F1FAF9B5}"/>
                </a:ext>
              </a:extLst>
            </p:cNvPr>
            <p:cNvSpPr/>
            <p:nvPr/>
          </p:nvSpPr>
          <p:spPr bwMode="auto">
            <a:xfrm>
              <a:off x="107951" y="3571875"/>
              <a:ext cx="844550" cy="2551113"/>
            </a:xfrm>
            <a:custGeom>
              <a:avLst/>
              <a:gdLst>
                <a:gd name="T0" fmla="*/ 0 w 532"/>
                <a:gd name="T1" fmla="*/ 314 h 1607"/>
                <a:gd name="T2" fmla="*/ 0 w 532"/>
                <a:gd name="T3" fmla="*/ 1607 h 1607"/>
                <a:gd name="T4" fmla="*/ 532 w 532"/>
                <a:gd name="T5" fmla="*/ 1607 h 1607"/>
                <a:gd name="T6" fmla="*/ 532 w 532"/>
                <a:gd name="T7" fmla="*/ 314 h 1607"/>
                <a:gd name="T8" fmla="*/ 347 w 532"/>
                <a:gd name="T9" fmla="*/ 314 h 1607"/>
                <a:gd name="T10" fmla="*/ 347 w 532"/>
                <a:gd name="T11" fmla="*/ 192 h 1607"/>
                <a:gd name="T12" fmla="*/ 242 w 532"/>
                <a:gd name="T13" fmla="*/ 192 h 1607"/>
                <a:gd name="T14" fmla="*/ 242 w 532"/>
                <a:gd name="T15" fmla="*/ 314 h 1607"/>
                <a:gd name="T16" fmla="*/ 163 w 532"/>
                <a:gd name="T17" fmla="*/ 314 h 1607"/>
                <a:gd name="T18" fmla="*/ 163 w 532"/>
                <a:gd name="T19" fmla="*/ 0 h 1607"/>
                <a:gd name="T20" fmla="*/ 55 w 532"/>
                <a:gd name="T21" fmla="*/ 0 h 1607"/>
                <a:gd name="T22" fmla="*/ 55 w 532"/>
                <a:gd name="T23" fmla="*/ 314 h 1607"/>
                <a:gd name="T24" fmla="*/ 0 w 532"/>
                <a:gd name="T25" fmla="*/ 314 h 1607"/>
                <a:gd name="T26" fmla="*/ 335 w 532"/>
                <a:gd name="T27" fmla="*/ 1226 h 1607"/>
                <a:gd name="T28" fmla="*/ 438 w 532"/>
                <a:gd name="T29" fmla="*/ 1226 h 1607"/>
                <a:gd name="T30" fmla="*/ 438 w 532"/>
                <a:gd name="T31" fmla="*/ 1329 h 1607"/>
                <a:gd name="T32" fmla="*/ 335 w 532"/>
                <a:gd name="T33" fmla="*/ 1329 h 1607"/>
                <a:gd name="T34" fmla="*/ 335 w 532"/>
                <a:gd name="T35" fmla="*/ 1226 h 1607"/>
                <a:gd name="T36" fmla="*/ 335 w 532"/>
                <a:gd name="T37" fmla="*/ 1034 h 1607"/>
                <a:gd name="T38" fmla="*/ 438 w 532"/>
                <a:gd name="T39" fmla="*/ 1034 h 1607"/>
                <a:gd name="T40" fmla="*/ 438 w 532"/>
                <a:gd name="T41" fmla="*/ 1137 h 1607"/>
                <a:gd name="T42" fmla="*/ 335 w 532"/>
                <a:gd name="T43" fmla="*/ 1137 h 1607"/>
                <a:gd name="T44" fmla="*/ 335 w 532"/>
                <a:gd name="T45" fmla="*/ 1034 h 1607"/>
                <a:gd name="T46" fmla="*/ 335 w 532"/>
                <a:gd name="T47" fmla="*/ 842 h 1607"/>
                <a:gd name="T48" fmla="*/ 438 w 532"/>
                <a:gd name="T49" fmla="*/ 842 h 1607"/>
                <a:gd name="T50" fmla="*/ 438 w 532"/>
                <a:gd name="T51" fmla="*/ 947 h 1607"/>
                <a:gd name="T52" fmla="*/ 335 w 532"/>
                <a:gd name="T53" fmla="*/ 947 h 1607"/>
                <a:gd name="T54" fmla="*/ 335 w 532"/>
                <a:gd name="T55" fmla="*/ 842 h 1607"/>
                <a:gd name="T56" fmla="*/ 335 w 532"/>
                <a:gd name="T57" fmla="*/ 652 h 1607"/>
                <a:gd name="T58" fmla="*/ 438 w 532"/>
                <a:gd name="T59" fmla="*/ 652 h 1607"/>
                <a:gd name="T60" fmla="*/ 438 w 532"/>
                <a:gd name="T61" fmla="*/ 755 h 1607"/>
                <a:gd name="T62" fmla="*/ 335 w 532"/>
                <a:gd name="T63" fmla="*/ 755 h 1607"/>
                <a:gd name="T64" fmla="*/ 335 w 532"/>
                <a:gd name="T65" fmla="*/ 652 h 1607"/>
                <a:gd name="T66" fmla="*/ 335 w 532"/>
                <a:gd name="T67" fmla="*/ 460 h 1607"/>
                <a:gd name="T68" fmla="*/ 438 w 532"/>
                <a:gd name="T69" fmla="*/ 460 h 1607"/>
                <a:gd name="T70" fmla="*/ 438 w 532"/>
                <a:gd name="T71" fmla="*/ 566 h 1607"/>
                <a:gd name="T72" fmla="*/ 335 w 532"/>
                <a:gd name="T73" fmla="*/ 566 h 1607"/>
                <a:gd name="T74" fmla="*/ 335 w 532"/>
                <a:gd name="T75" fmla="*/ 460 h 1607"/>
                <a:gd name="T76" fmla="*/ 93 w 532"/>
                <a:gd name="T77" fmla="*/ 1226 h 1607"/>
                <a:gd name="T78" fmla="*/ 196 w 532"/>
                <a:gd name="T79" fmla="*/ 1226 h 1607"/>
                <a:gd name="T80" fmla="*/ 196 w 532"/>
                <a:gd name="T81" fmla="*/ 1329 h 1607"/>
                <a:gd name="T82" fmla="*/ 93 w 532"/>
                <a:gd name="T83" fmla="*/ 1329 h 1607"/>
                <a:gd name="T84" fmla="*/ 93 w 532"/>
                <a:gd name="T85" fmla="*/ 1226 h 1607"/>
                <a:gd name="T86" fmla="*/ 93 w 532"/>
                <a:gd name="T87" fmla="*/ 1034 h 1607"/>
                <a:gd name="T88" fmla="*/ 196 w 532"/>
                <a:gd name="T89" fmla="*/ 1034 h 1607"/>
                <a:gd name="T90" fmla="*/ 196 w 532"/>
                <a:gd name="T91" fmla="*/ 1137 h 1607"/>
                <a:gd name="T92" fmla="*/ 93 w 532"/>
                <a:gd name="T93" fmla="*/ 1137 h 1607"/>
                <a:gd name="T94" fmla="*/ 93 w 532"/>
                <a:gd name="T95" fmla="*/ 1034 h 1607"/>
                <a:gd name="T96" fmla="*/ 93 w 532"/>
                <a:gd name="T97" fmla="*/ 842 h 1607"/>
                <a:gd name="T98" fmla="*/ 196 w 532"/>
                <a:gd name="T99" fmla="*/ 842 h 1607"/>
                <a:gd name="T100" fmla="*/ 196 w 532"/>
                <a:gd name="T101" fmla="*/ 947 h 1607"/>
                <a:gd name="T102" fmla="*/ 93 w 532"/>
                <a:gd name="T103" fmla="*/ 947 h 1607"/>
                <a:gd name="T104" fmla="*/ 93 w 532"/>
                <a:gd name="T105" fmla="*/ 842 h 1607"/>
                <a:gd name="T106" fmla="*/ 93 w 532"/>
                <a:gd name="T107" fmla="*/ 652 h 1607"/>
                <a:gd name="T108" fmla="*/ 196 w 532"/>
                <a:gd name="T109" fmla="*/ 652 h 1607"/>
                <a:gd name="T110" fmla="*/ 196 w 532"/>
                <a:gd name="T111" fmla="*/ 755 h 1607"/>
                <a:gd name="T112" fmla="*/ 93 w 532"/>
                <a:gd name="T113" fmla="*/ 755 h 1607"/>
                <a:gd name="T114" fmla="*/ 93 w 532"/>
                <a:gd name="T115" fmla="*/ 652 h 1607"/>
                <a:gd name="T116" fmla="*/ 93 w 532"/>
                <a:gd name="T117" fmla="*/ 460 h 1607"/>
                <a:gd name="T118" fmla="*/ 196 w 532"/>
                <a:gd name="T119" fmla="*/ 460 h 1607"/>
                <a:gd name="T120" fmla="*/ 196 w 532"/>
                <a:gd name="T121" fmla="*/ 566 h 1607"/>
                <a:gd name="T122" fmla="*/ 93 w 532"/>
                <a:gd name="T123" fmla="*/ 566 h 1607"/>
                <a:gd name="T124" fmla="*/ 93 w 532"/>
                <a:gd name="T125" fmla="*/ 460 h 16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532" h="1607">
                  <a:moveTo>
                    <a:pt x="0" y="314"/>
                  </a:moveTo>
                  <a:lnTo>
                    <a:pt x="0" y="1607"/>
                  </a:lnTo>
                  <a:lnTo>
                    <a:pt x="532" y="1607"/>
                  </a:lnTo>
                  <a:lnTo>
                    <a:pt x="532" y="314"/>
                  </a:lnTo>
                  <a:lnTo>
                    <a:pt x="347" y="314"/>
                  </a:lnTo>
                  <a:lnTo>
                    <a:pt x="347" y="192"/>
                  </a:lnTo>
                  <a:lnTo>
                    <a:pt x="242" y="192"/>
                  </a:lnTo>
                  <a:lnTo>
                    <a:pt x="242" y="314"/>
                  </a:lnTo>
                  <a:lnTo>
                    <a:pt x="163" y="314"/>
                  </a:lnTo>
                  <a:lnTo>
                    <a:pt x="163" y="0"/>
                  </a:lnTo>
                  <a:lnTo>
                    <a:pt x="55" y="0"/>
                  </a:lnTo>
                  <a:lnTo>
                    <a:pt x="55" y="314"/>
                  </a:lnTo>
                  <a:lnTo>
                    <a:pt x="0" y="314"/>
                  </a:lnTo>
                  <a:close/>
                  <a:moveTo>
                    <a:pt x="335" y="1226"/>
                  </a:moveTo>
                  <a:lnTo>
                    <a:pt x="438" y="1226"/>
                  </a:lnTo>
                  <a:lnTo>
                    <a:pt x="438" y="1329"/>
                  </a:lnTo>
                  <a:lnTo>
                    <a:pt x="335" y="1329"/>
                  </a:lnTo>
                  <a:lnTo>
                    <a:pt x="335" y="1226"/>
                  </a:lnTo>
                  <a:close/>
                  <a:moveTo>
                    <a:pt x="335" y="1034"/>
                  </a:moveTo>
                  <a:lnTo>
                    <a:pt x="438" y="1034"/>
                  </a:lnTo>
                  <a:lnTo>
                    <a:pt x="438" y="1137"/>
                  </a:lnTo>
                  <a:lnTo>
                    <a:pt x="335" y="1137"/>
                  </a:lnTo>
                  <a:lnTo>
                    <a:pt x="335" y="1034"/>
                  </a:lnTo>
                  <a:close/>
                  <a:moveTo>
                    <a:pt x="335" y="842"/>
                  </a:moveTo>
                  <a:lnTo>
                    <a:pt x="438" y="842"/>
                  </a:lnTo>
                  <a:lnTo>
                    <a:pt x="438" y="947"/>
                  </a:lnTo>
                  <a:lnTo>
                    <a:pt x="335" y="947"/>
                  </a:lnTo>
                  <a:lnTo>
                    <a:pt x="335" y="842"/>
                  </a:lnTo>
                  <a:close/>
                  <a:moveTo>
                    <a:pt x="335" y="652"/>
                  </a:moveTo>
                  <a:lnTo>
                    <a:pt x="438" y="652"/>
                  </a:lnTo>
                  <a:lnTo>
                    <a:pt x="438" y="755"/>
                  </a:lnTo>
                  <a:lnTo>
                    <a:pt x="335" y="755"/>
                  </a:lnTo>
                  <a:lnTo>
                    <a:pt x="335" y="652"/>
                  </a:lnTo>
                  <a:close/>
                  <a:moveTo>
                    <a:pt x="335" y="460"/>
                  </a:moveTo>
                  <a:lnTo>
                    <a:pt x="438" y="460"/>
                  </a:lnTo>
                  <a:lnTo>
                    <a:pt x="438" y="566"/>
                  </a:lnTo>
                  <a:lnTo>
                    <a:pt x="335" y="566"/>
                  </a:lnTo>
                  <a:lnTo>
                    <a:pt x="335" y="460"/>
                  </a:lnTo>
                  <a:close/>
                  <a:moveTo>
                    <a:pt x="93" y="1226"/>
                  </a:moveTo>
                  <a:lnTo>
                    <a:pt x="196" y="1226"/>
                  </a:lnTo>
                  <a:lnTo>
                    <a:pt x="196" y="1329"/>
                  </a:lnTo>
                  <a:lnTo>
                    <a:pt x="93" y="1329"/>
                  </a:lnTo>
                  <a:lnTo>
                    <a:pt x="93" y="1226"/>
                  </a:lnTo>
                  <a:close/>
                  <a:moveTo>
                    <a:pt x="93" y="1034"/>
                  </a:moveTo>
                  <a:lnTo>
                    <a:pt x="196" y="1034"/>
                  </a:lnTo>
                  <a:lnTo>
                    <a:pt x="196" y="1137"/>
                  </a:lnTo>
                  <a:lnTo>
                    <a:pt x="93" y="1137"/>
                  </a:lnTo>
                  <a:lnTo>
                    <a:pt x="93" y="1034"/>
                  </a:lnTo>
                  <a:close/>
                  <a:moveTo>
                    <a:pt x="93" y="842"/>
                  </a:moveTo>
                  <a:lnTo>
                    <a:pt x="196" y="842"/>
                  </a:lnTo>
                  <a:lnTo>
                    <a:pt x="196" y="947"/>
                  </a:lnTo>
                  <a:lnTo>
                    <a:pt x="93" y="947"/>
                  </a:lnTo>
                  <a:lnTo>
                    <a:pt x="93" y="842"/>
                  </a:lnTo>
                  <a:close/>
                  <a:moveTo>
                    <a:pt x="93" y="652"/>
                  </a:moveTo>
                  <a:lnTo>
                    <a:pt x="196" y="652"/>
                  </a:lnTo>
                  <a:lnTo>
                    <a:pt x="196" y="755"/>
                  </a:lnTo>
                  <a:lnTo>
                    <a:pt x="93" y="755"/>
                  </a:lnTo>
                  <a:lnTo>
                    <a:pt x="93" y="652"/>
                  </a:lnTo>
                  <a:close/>
                  <a:moveTo>
                    <a:pt x="93" y="460"/>
                  </a:moveTo>
                  <a:lnTo>
                    <a:pt x="196" y="460"/>
                  </a:lnTo>
                  <a:lnTo>
                    <a:pt x="196" y="566"/>
                  </a:lnTo>
                  <a:lnTo>
                    <a:pt x="93" y="566"/>
                  </a:lnTo>
                  <a:lnTo>
                    <a:pt x="93" y="4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endParaRPr lang="ru-RU"/>
            </a:p>
          </p:txBody>
        </p:sp>
        <p:sp>
          <p:nvSpPr>
            <p:cNvPr id="41" name="işḻîdê">
              <a:extLst>
                <a:ext uri="{FF2B5EF4-FFF2-40B4-BE49-F238E27FC236}">
                  <a16:creationId xmlns="" xmlns:a16="http://schemas.microsoft.com/office/drawing/2014/main" id="{D605F642-22D8-4E37-8D97-D01976A65A8A}"/>
                </a:ext>
              </a:extLst>
            </p:cNvPr>
            <p:cNvSpPr/>
            <p:nvPr/>
          </p:nvSpPr>
          <p:spPr bwMode="auto">
            <a:xfrm>
              <a:off x="3008313" y="2128838"/>
              <a:ext cx="844550" cy="3994150"/>
            </a:xfrm>
            <a:custGeom>
              <a:avLst/>
              <a:gdLst>
                <a:gd name="T0" fmla="*/ 0 w 532"/>
                <a:gd name="T1" fmla="*/ 463 h 2516"/>
                <a:gd name="T2" fmla="*/ 0 w 532"/>
                <a:gd name="T3" fmla="*/ 2516 h 2516"/>
                <a:gd name="T4" fmla="*/ 532 w 532"/>
                <a:gd name="T5" fmla="*/ 2516 h 2516"/>
                <a:gd name="T6" fmla="*/ 532 w 532"/>
                <a:gd name="T7" fmla="*/ 463 h 2516"/>
                <a:gd name="T8" fmla="*/ 258 w 532"/>
                <a:gd name="T9" fmla="*/ 0 h 2516"/>
                <a:gd name="T10" fmla="*/ 0 w 532"/>
                <a:gd name="T11" fmla="*/ 463 h 2516"/>
                <a:gd name="T12" fmla="*/ 371 w 532"/>
                <a:gd name="T13" fmla="*/ 1832 h 2516"/>
                <a:gd name="T14" fmla="*/ 443 w 532"/>
                <a:gd name="T15" fmla="*/ 1832 h 2516"/>
                <a:gd name="T16" fmla="*/ 443 w 532"/>
                <a:gd name="T17" fmla="*/ 2139 h 2516"/>
                <a:gd name="T18" fmla="*/ 371 w 532"/>
                <a:gd name="T19" fmla="*/ 2139 h 2516"/>
                <a:gd name="T20" fmla="*/ 371 w 532"/>
                <a:gd name="T21" fmla="*/ 1832 h 2516"/>
                <a:gd name="T22" fmla="*/ 371 w 532"/>
                <a:gd name="T23" fmla="*/ 1432 h 2516"/>
                <a:gd name="T24" fmla="*/ 443 w 532"/>
                <a:gd name="T25" fmla="*/ 1432 h 2516"/>
                <a:gd name="T26" fmla="*/ 443 w 532"/>
                <a:gd name="T27" fmla="*/ 1739 h 2516"/>
                <a:gd name="T28" fmla="*/ 371 w 532"/>
                <a:gd name="T29" fmla="*/ 1739 h 2516"/>
                <a:gd name="T30" fmla="*/ 371 w 532"/>
                <a:gd name="T31" fmla="*/ 1432 h 2516"/>
                <a:gd name="T32" fmla="*/ 371 w 532"/>
                <a:gd name="T33" fmla="*/ 630 h 2516"/>
                <a:gd name="T34" fmla="*/ 443 w 532"/>
                <a:gd name="T35" fmla="*/ 630 h 2516"/>
                <a:gd name="T36" fmla="*/ 443 w 532"/>
                <a:gd name="T37" fmla="*/ 938 h 2516"/>
                <a:gd name="T38" fmla="*/ 371 w 532"/>
                <a:gd name="T39" fmla="*/ 938 h 2516"/>
                <a:gd name="T40" fmla="*/ 371 w 532"/>
                <a:gd name="T41" fmla="*/ 630 h 2516"/>
                <a:gd name="T42" fmla="*/ 230 w 532"/>
                <a:gd name="T43" fmla="*/ 1832 h 2516"/>
                <a:gd name="T44" fmla="*/ 302 w 532"/>
                <a:gd name="T45" fmla="*/ 1832 h 2516"/>
                <a:gd name="T46" fmla="*/ 302 w 532"/>
                <a:gd name="T47" fmla="*/ 2139 h 2516"/>
                <a:gd name="T48" fmla="*/ 230 w 532"/>
                <a:gd name="T49" fmla="*/ 2139 h 2516"/>
                <a:gd name="T50" fmla="*/ 230 w 532"/>
                <a:gd name="T51" fmla="*/ 1832 h 2516"/>
                <a:gd name="T52" fmla="*/ 230 w 532"/>
                <a:gd name="T53" fmla="*/ 1432 h 2516"/>
                <a:gd name="T54" fmla="*/ 302 w 532"/>
                <a:gd name="T55" fmla="*/ 1432 h 2516"/>
                <a:gd name="T56" fmla="*/ 302 w 532"/>
                <a:gd name="T57" fmla="*/ 1739 h 2516"/>
                <a:gd name="T58" fmla="*/ 230 w 532"/>
                <a:gd name="T59" fmla="*/ 1739 h 2516"/>
                <a:gd name="T60" fmla="*/ 230 w 532"/>
                <a:gd name="T61" fmla="*/ 1432 h 2516"/>
                <a:gd name="T62" fmla="*/ 230 w 532"/>
                <a:gd name="T63" fmla="*/ 1031 h 2516"/>
                <a:gd name="T64" fmla="*/ 302 w 532"/>
                <a:gd name="T65" fmla="*/ 1031 h 2516"/>
                <a:gd name="T66" fmla="*/ 302 w 532"/>
                <a:gd name="T67" fmla="*/ 1338 h 2516"/>
                <a:gd name="T68" fmla="*/ 230 w 532"/>
                <a:gd name="T69" fmla="*/ 1338 h 2516"/>
                <a:gd name="T70" fmla="*/ 230 w 532"/>
                <a:gd name="T71" fmla="*/ 1031 h 2516"/>
                <a:gd name="T72" fmla="*/ 230 w 532"/>
                <a:gd name="T73" fmla="*/ 630 h 2516"/>
                <a:gd name="T74" fmla="*/ 302 w 532"/>
                <a:gd name="T75" fmla="*/ 630 h 2516"/>
                <a:gd name="T76" fmla="*/ 302 w 532"/>
                <a:gd name="T77" fmla="*/ 938 h 2516"/>
                <a:gd name="T78" fmla="*/ 230 w 532"/>
                <a:gd name="T79" fmla="*/ 938 h 2516"/>
                <a:gd name="T80" fmla="*/ 230 w 532"/>
                <a:gd name="T81" fmla="*/ 630 h 2516"/>
                <a:gd name="T82" fmla="*/ 88 w 532"/>
                <a:gd name="T83" fmla="*/ 1832 h 2516"/>
                <a:gd name="T84" fmla="*/ 160 w 532"/>
                <a:gd name="T85" fmla="*/ 1832 h 2516"/>
                <a:gd name="T86" fmla="*/ 160 w 532"/>
                <a:gd name="T87" fmla="*/ 2139 h 2516"/>
                <a:gd name="T88" fmla="*/ 88 w 532"/>
                <a:gd name="T89" fmla="*/ 2139 h 2516"/>
                <a:gd name="T90" fmla="*/ 88 w 532"/>
                <a:gd name="T91" fmla="*/ 1832 h 2516"/>
                <a:gd name="T92" fmla="*/ 88 w 532"/>
                <a:gd name="T93" fmla="*/ 1031 h 2516"/>
                <a:gd name="T94" fmla="*/ 160 w 532"/>
                <a:gd name="T95" fmla="*/ 1031 h 2516"/>
                <a:gd name="T96" fmla="*/ 160 w 532"/>
                <a:gd name="T97" fmla="*/ 1338 h 2516"/>
                <a:gd name="T98" fmla="*/ 88 w 532"/>
                <a:gd name="T99" fmla="*/ 1338 h 2516"/>
                <a:gd name="T100" fmla="*/ 88 w 532"/>
                <a:gd name="T101" fmla="*/ 1031 h 25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532" h="2516">
                  <a:moveTo>
                    <a:pt x="0" y="463"/>
                  </a:moveTo>
                  <a:lnTo>
                    <a:pt x="0" y="2516"/>
                  </a:lnTo>
                  <a:lnTo>
                    <a:pt x="532" y="2516"/>
                  </a:lnTo>
                  <a:lnTo>
                    <a:pt x="532" y="463"/>
                  </a:lnTo>
                  <a:lnTo>
                    <a:pt x="258" y="0"/>
                  </a:lnTo>
                  <a:lnTo>
                    <a:pt x="0" y="463"/>
                  </a:lnTo>
                  <a:close/>
                  <a:moveTo>
                    <a:pt x="371" y="1832"/>
                  </a:moveTo>
                  <a:lnTo>
                    <a:pt x="443" y="1832"/>
                  </a:lnTo>
                  <a:lnTo>
                    <a:pt x="443" y="2139"/>
                  </a:lnTo>
                  <a:lnTo>
                    <a:pt x="371" y="2139"/>
                  </a:lnTo>
                  <a:lnTo>
                    <a:pt x="371" y="1832"/>
                  </a:lnTo>
                  <a:close/>
                  <a:moveTo>
                    <a:pt x="371" y="1432"/>
                  </a:moveTo>
                  <a:lnTo>
                    <a:pt x="443" y="1432"/>
                  </a:lnTo>
                  <a:lnTo>
                    <a:pt x="443" y="1739"/>
                  </a:lnTo>
                  <a:lnTo>
                    <a:pt x="371" y="1739"/>
                  </a:lnTo>
                  <a:lnTo>
                    <a:pt x="371" y="1432"/>
                  </a:lnTo>
                  <a:close/>
                  <a:moveTo>
                    <a:pt x="371" y="630"/>
                  </a:moveTo>
                  <a:lnTo>
                    <a:pt x="443" y="630"/>
                  </a:lnTo>
                  <a:lnTo>
                    <a:pt x="443" y="938"/>
                  </a:lnTo>
                  <a:lnTo>
                    <a:pt x="371" y="938"/>
                  </a:lnTo>
                  <a:lnTo>
                    <a:pt x="371" y="630"/>
                  </a:lnTo>
                  <a:close/>
                  <a:moveTo>
                    <a:pt x="230" y="1832"/>
                  </a:moveTo>
                  <a:lnTo>
                    <a:pt x="302" y="1832"/>
                  </a:lnTo>
                  <a:lnTo>
                    <a:pt x="302" y="2139"/>
                  </a:lnTo>
                  <a:lnTo>
                    <a:pt x="230" y="2139"/>
                  </a:lnTo>
                  <a:lnTo>
                    <a:pt x="230" y="1832"/>
                  </a:lnTo>
                  <a:close/>
                  <a:moveTo>
                    <a:pt x="230" y="1432"/>
                  </a:moveTo>
                  <a:lnTo>
                    <a:pt x="302" y="1432"/>
                  </a:lnTo>
                  <a:lnTo>
                    <a:pt x="302" y="1739"/>
                  </a:lnTo>
                  <a:lnTo>
                    <a:pt x="230" y="1739"/>
                  </a:lnTo>
                  <a:lnTo>
                    <a:pt x="230" y="1432"/>
                  </a:lnTo>
                  <a:close/>
                  <a:moveTo>
                    <a:pt x="230" y="1031"/>
                  </a:moveTo>
                  <a:lnTo>
                    <a:pt x="302" y="1031"/>
                  </a:lnTo>
                  <a:lnTo>
                    <a:pt x="302" y="1338"/>
                  </a:lnTo>
                  <a:lnTo>
                    <a:pt x="230" y="1338"/>
                  </a:lnTo>
                  <a:lnTo>
                    <a:pt x="230" y="1031"/>
                  </a:lnTo>
                  <a:close/>
                  <a:moveTo>
                    <a:pt x="230" y="630"/>
                  </a:moveTo>
                  <a:lnTo>
                    <a:pt x="302" y="630"/>
                  </a:lnTo>
                  <a:lnTo>
                    <a:pt x="302" y="938"/>
                  </a:lnTo>
                  <a:lnTo>
                    <a:pt x="230" y="938"/>
                  </a:lnTo>
                  <a:lnTo>
                    <a:pt x="230" y="630"/>
                  </a:lnTo>
                  <a:close/>
                  <a:moveTo>
                    <a:pt x="88" y="1832"/>
                  </a:moveTo>
                  <a:lnTo>
                    <a:pt x="160" y="1832"/>
                  </a:lnTo>
                  <a:lnTo>
                    <a:pt x="160" y="2139"/>
                  </a:lnTo>
                  <a:lnTo>
                    <a:pt x="88" y="2139"/>
                  </a:lnTo>
                  <a:lnTo>
                    <a:pt x="88" y="1832"/>
                  </a:lnTo>
                  <a:close/>
                  <a:moveTo>
                    <a:pt x="88" y="1031"/>
                  </a:moveTo>
                  <a:lnTo>
                    <a:pt x="160" y="1031"/>
                  </a:lnTo>
                  <a:lnTo>
                    <a:pt x="160" y="1338"/>
                  </a:lnTo>
                  <a:lnTo>
                    <a:pt x="88" y="1338"/>
                  </a:lnTo>
                  <a:lnTo>
                    <a:pt x="88" y="10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endParaRPr lang="ru-RU"/>
            </a:p>
          </p:txBody>
        </p:sp>
        <p:sp>
          <p:nvSpPr>
            <p:cNvPr id="42" name="îṡḻïḍê">
              <a:extLst>
                <a:ext uri="{FF2B5EF4-FFF2-40B4-BE49-F238E27FC236}">
                  <a16:creationId xmlns="" xmlns:a16="http://schemas.microsoft.com/office/drawing/2014/main" id="{1E1F8511-5F97-4FF3-B89B-BC440295D481}"/>
                </a:ext>
              </a:extLst>
            </p:cNvPr>
            <p:cNvSpPr/>
            <p:nvPr/>
          </p:nvSpPr>
          <p:spPr bwMode="auto">
            <a:xfrm>
              <a:off x="2041526" y="3784600"/>
              <a:ext cx="844550" cy="2338388"/>
            </a:xfrm>
            <a:custGeom>
              <a:avLst/>
              <a:gdLst>
                <a:gd name="T0" fmla="*/ 0 w 532"/>
                <a:gd name="T1" fmla="*/ 384 h 1473"/>
                <a:gd name="T2" fmla="*/ 0 w 532"/>
                <a:gd name="T3" fmla="*/ 1473 h 1473"/>
                <a:gd name="T4" fmla="*/ 532 w 532"/>
                <a:gd name="T5" fmla="*/ 1473 h 1473"/>
                <a:gd name="T6" fmla="*/ 532 w 532"/>
                <a:gd name="T7" fmla="*/ 384 h 1473"/>
                <a:gd name="T8" fmla="*/ 465 w 532"/>
                <a:gd name="T9" fmla="*/ 384 h 1473"/>
                <a:gd name="T10" fmla="*/ 465 w 532"/>
                <a:gd name="T11" fmla="*/ 283 h 1473"/>
                <a:gd name="T12" fmla="*/ 388 w 532"/>
                <a:gd name="T13" fmla="*/ 283 h 1473"/>
                <a:gd name="T14" fmla="*/ 388 w 532"/>
                <a:gd name="T15" fmla="*/ 0 h 1473"/>
                <a:gd name="T16" fmla="*/ 143 w 532"/>
                <a:gd name="T17" fmla="*/ 0 h 1473"/>
                <a:gd name="T18" fmla="*/ 143 w 532"/>
                <a:gd name="T19" fmla="*/ 283 h 1473"/>
                <a:gd name="T20" fmla="*/ 67 w 532"/>
                <a:gd name="T21" fmla="*/ 283 h 1473"/>
                <a:gd name="T22" fmla="*/ 67 w 532"/>
                <a:gd name="T23" fmla="*/ 384 h 1473"/>
                <a:gd name="T24" fmla="*/ 0 w 532"/>
                <a:gd name="T25" fmla="*/ 384 h 1473"/>
                <a:gd name="T26" fmla="*/ 362 w 532"/>
                <a:gd name="T27" fmla="*/ 1029 h 1473"/>
                <a:gd name="T28" fmla="*/ 457 w 532"/>
                <a:gd name="T29" fmla="*/ 1029 h 1473"/>
                <a:gd name="T30" fmla="*/ 457 w 532"/>
                <a:gd name="T31" fmla="*/ 1137 h 1473"/>
                <a:gd name="T32" fmla="*/ 362 w 532"/>
                <a:gd name="T33" fmla="*/ 1137 h 1473"/>
                <a:gd name="T34" fmla="*/ 362 w 532"/>
                <a:gd name="T35" fmla="*/ 1029 h 1473"/>
                <a:gd name="T36" fmla="*/ 362 w 532"/>
                <a:gd name="T37" fmla="*/ 681 h 1473"/>
                <a:gd name="T38" fmla="*/ 457 w 532"/>
                <a:gd name="T39" fmla="*/ 681 h 1473"/>
                <a:gd name="T40" fmla="*/ 457 w 532"/>
                <a:gd name="T41" fmla="*/ 792 h 1473"/>
                <a:gd name="T42" fmla="*/ 362 w 532"/>
                <a:gd name="T43" fmla="*/ 792 h 1473"/>
                <a:gd name="T44" fmla="*/ 362 w 532"/>
                <a:gd name="T45" fmla="*/ 681 h 1473"/>
                <a:gd name="T46" fmla="*/ 362 w 532"/>
                <a:gd name="T47" fmla="*/ 509 h 1473"/>
                <a:gd name="T48" fmla="*/ 457 w 532"/>
                <a:gd name="T49" fmla="*/ 509 h 1473"/>
                <a:gd name="T50" fmla="*/ 457 w 532"/>
                <a:gd name="T51" fmla="*/ 619 h 1473"/>
                <a:gd name="T52" fmla="*/ 362 w 532"/>
                <a:gd name="T53" fmla="*/ 619 h 1473"/>
                <a:gd name="T54" fmla="*/ 362 w 532"/>
                <a:gd name="T55" fmla="*/ 509 h 1473"/>
                <a:gd name="T56" fmla="*/ 218 w 532"/>
                <a:gd name="T57" fmla="*/ 854 h 1473"/>
                <a:gd name="T58" fmla="*/ 314 w 532"/>
                <a:gd name="T59" fmla="*/ 854 h 1473"/>
                <a:gd name="T60" fmla="*/ 314 w 532"/>
                <a:gd name="T61" fmla="*/ 964 h 1473"/>
                <a:gd name="T62" fmla="*/ 218 w 532"/>
                <a:gd name="T63" fmla="*/ 964 h 1473"/>
                <a:gd name="T64" fmla="*/ 218 w 532"/>
                <a:gd name="T65" fmla="*/ 854 h 1473"/>
                <a:gd name="T66" fmla="*/ 218 w 532"/>
                <a:gd name="T67" fmla="*/ 681 h 1473"/>
                <a:gd name="T68" fmla="*/ 314 w 532"/>
                <a:gd name="T69" fmla="*/ 681 h 1473"/>
                <a:gd name="T70" fmla="*/ 314 w 532"/>
                <a:gd name="T71" fmla="*/ 792 h 1473"/>
                <a:gd name="T72" fmla="*/ 218 w 532"/>
                <a:gd name="T73" fmla="*/ 792 h 1473"/>
                <a:gd name="T74" fmla="*/ 218 w 532"/>
                <a:gd name="T75" fmla="*/ 681 h 1473"/>
                <a:gd name="T76" fmla="*/ 218 w 532"/>
                <a:gd name="T77" fmla="*/ 509 h 1473"/>
                <a:gd name="T78" fmla="*/ 314 w 532"/>
                <a:gd name="T79" fmla="*/ 509 h 1473"/>
                <a:gd name="T80" fmla="*/ 314 w 532"/>
                <a:gd name="T81" fmla="*/ 619 h 1473"/>
                <a:gd name="T82" fmla="*/ 218 w 532"/>
                <a:gd name="T83" fmla="*/ 619 h 1473"/>
                <a:gd name="T84" fmla="*/ 218 w 532"/>
                <a:gd name="T85" fmla="*/ 509 h 1473"/>
                <a:gd name="T86" fmla="*/ 74 w 532"/>
                <a:gd name="T87" fmla="*/ 1029 h 1473"/>
                <a:gd name="T88" fmla="*/ 170 w 532"/>
                <a:gd name="T89" fmla="*/ 1029 h 1473"/>
                <a:gd name="T90" fmla="*/ 170 w 532"/>
                <a:gd name="T91" fmla="*/ 1137 h 1473"/>
                <a:gd name="T92" fmla="*/ 74 w 532"/>
                <a:gd name="T93" fmla="*/ 1137 h 1473"/>
                <a:gd name="T94" fmla="*/ 74 w 532"/>
                <a:gd name="T95" fmla="*/ 1029 h 1473"/>
                <a:gd name="T96" fmla="*/ 74 w 532"/>
                <a:gd name="T97" fmla="*/ 854 h 1473"/>
                <a:gd name="T98" fmla="*/ 170 w 532"/>
                <a:gd name="T99" fmla="*/ 854 h 1473"/>
                <a:gd name="T100" fmla="*/ 170 w 532"/>
                <a:gd name="T101" fmla="*/ 964 h 1473"/>
                <a:gd name="T102" fmla="*/ 74 w 532"/>
                <a:gd name="T103" fmla="*/ 964 h 1473"/>
                <a:gd name="T104" fmla="*/ 74 w 532"/>
                <a:gd name="T105" fmla="*/ 854 h 1473"/>
                <a:gd name="T106" fmla="*/ 74 w 532"/>
                <a:gd name="T107" fmla="*/ 681 h 1473"/>
                <a:gd name="T108" fmla="*/ 170 w 532"/>
                <a:gd name="T109" fmla="*/ 681 h 1473"/>
                <a:gd name="T110" fmla="*/ 170 w 532"/>
                <a:gd name="T111" fmla="*/ 792 h 1473"/>
                <a:gd name="T112" fmla="*/ 74 w 532"/>
                <a:gd name="T113" fmla="*/ 792 h 1473"/>
                <a:gd name="T114" fmla="*/ 74 w 532"/>
                <a:gd name="T115" fmla="*/ 681 h 14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532" h="1473">
                  <a:moveTo>
                    <a:pt x="0" y="384"/>
                  </a:moveTo>
                  <a:lnTo>
                    <a:pt x="0" y="1473"/>
                  </a:lnTo>
                  <a:lnTo>
                    <a:pt x="532" y="1473"/>
                  </a:lnTo>
                  <a:lnTo>
                    <a:pt x="532" y="384"/>
                  </a:lnTo>
                  <a:lnTo>
                    <a:pt x="465" y="384"/>
                  </a:lnTo>
                  <a:lnTo>
                    <a:pt x="465" y="283"/>
                  </a:lnTo>
                  <a:lnTo>
                    <a:pt x="388" y="283"/>
                  </a:lnTo>
                  <a:lnTo>
                    <a:pt x="388" y="0"/>
                  </a:lnTo>
                  <a:lnTo>
                    <a:pt x="143" y="0"/>
                  </a:lnTo>
                  <a:lnTo>
                    <a:pt x="143" y="283"/>
                  </a:lnTo>
                  <a:lnTo>
                    <a:pt x="67" y="283"/>
                  </a:lnTo>
                  <a:lnTo>
                    <a:pt x="67" y="384"/>
                  </a:lnTo>
                  <a:lnTo>
                    <a:pt x="0" y="384"/>
                  </a:lnTo>
                  <a:close/>
                  <a:moveTo>
                    <a:pt x="362" y="1029"/>
                  </a:moveTo>
                  <a:lnTo>
                    <a:pt x="457" y="1029"/>
                  </a:lnTo>
                  <a:lnTo>
                    <a:pt x="457" y="1137"/>
                  </a:lnTo>
                  <a:lnTo>
                    <a:pt x="362" y="1137"/>
                  </a:lnTo>
                  <a:lnTo>
                    <a:pt x="362" y="1029"/>
                  </a:lnTo>
                  <a:close/>
                  <a:moveTo>
                    <a:pt x="362" y="681"/>
                  </a:moveTo>
                  <a:lnTo>
                    <a:pt x="457" y="681"/>
                  </a:lnTo>
                  <a:lnTo>
                    <a:pt x="457" y="792"/>
                  </a:lnTo>
                  <a:lnTo>
                    <a:pt x="362" y="792"/>
                  </a:lnTo>
                  <a:lnTo>
                    <a:pt x="362" y="681"/>
                  </a:lnTo>
                  <a:close/>
                  <a:moveTo>
                    <a:pt x="362" y="509"/>
                  </a:moveTo>
                  <a:lnTo>
                    <a:pt x="457" y="509"/>
                  </a:lnTo>
                  <a:lnTo>
                    <a:pt x="457" y="619"/>
                  </a:lnTo>
                  <a:lnTo>
                    <a:pt x="362" y="619"/>
                  </a:lnTo>
                  <a:lnTo>
                    <a:pt x="362" y="509"/>
                  </a:lnTo>
                  <a:close/>
                  <a:moveTo>
                    <a:pt x="218" y="854"/>
                  </a:moveTo>
                  <a:lnTo>
                    <a:pt x="314" y="854"/>
                  </a:lnTo>
                  <a:lnTo>
                    <a:pt x="314" y="964"/>
                  </a:lnTo>
                  <a:lnTo>
                    <a:pt x="218" y="964"/>
                  </a:lnTo>
                  <a:lnTo>
                    <a:pt x="218" y="854"/>
                  </a:lnTo>
                  <a:close/>
                  <a:moveTo>
                    <a:pt x="218" y="681"/>
                  </a:moveTo>
                  <a:lnTo>
                    <a:pt x="314" y="681"/>
                  </a:lnTo>
                  <a:lnTo>
                    <a:pt x="314" y="792"/>
                  </a:lnTo>
                  <a:lnTo>
                    <a:pt x="218" y="792"/>
                  </a:lnTo>
                  <a:lnTo>
                    <a:pt x="218" y="681"/>
                  </a:lnTo>
                  <a:close/>
                  <a:moveTo>
                    <a:pt x="218" y="509"/>
                  </a:moveTo>
                  <a:lnTo>
                    <a:pt x="314" y="509"/>
                  </a:lnTo>
                  <a:lnTo>
                    <a:pt x="314" y="619"/>
                  </a:lnTo>
                  <a:lnTo>
                    <a:pt x="218" y="619"/>
                  </a:lnTo>
                  <a:lnTo>
                    <a:pt x="218" y="509"/>
                  </a:lnTo>
                  <a:close/>
                  <a:moveTo>
                    <a:pt x="74" y="1029"/>
                  </a:moveTo>
                  <a:lnTo>
                    <a:pt x="170" y="1029"/>
                  </a:lnTo>
                  <a:lnTo>
                    <a:pt x="170" y="1137"/>
                  </a:lnTo>
                  <a:lnTo>
                    <a:pt x="74" y="1137"/>
                  </a:lnTo>
                  <a:lnTo>
                    <a:pt x="74" y="1029"/>
                  </a:lnTo>
                  <a:close/>
                  <a:moveTo>
                    <a:pt x="74" y="854"/>
                  </a:moveTo>
                  <a:lnTo>
                    <a:pt x="170" y="854"/>
                  </a:lnTo>
                  <a:lnTo>
                    <a:pt x="170" y="964"/>
                  </a:lnTo>
                  <a:lnTo>
                    <a:pt x="74" y="964"/>
                  </a:lnTo>
                  <a:lnTo>
                    <a:pt x="74" y="854"/>
                  </a:lnTo>
                  <a:close/>
                  <a:moveTo>
                    <a:pt x="74" y="681"/>
                  </a:moveTo>
                  <a:lnTo>
                    <a:pt x="170" y="681"/>
                  </a:lnTo>
                  <a:lnTo>
                    <a:pt x="170" y="792"/>
                  </a:lnTo>
                  <a:lnTo>
                    <a:pt x="74" y="792"/>
                  </a:lnTo>
                  <a:lnTo>
                    <a:pt x="74" y="68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endParaRPr lang="ru-RU"/>
            </a:p>
          </p:txBody>
        </p:sp>
        <p:sp>
          <p:nvSpPr>
            <p:cNvPr id="43" name="iṧlïḋe">
              <a:extLst>
                <a:ext uri="{FF2B5EF4-FFF2-40B4-BE49-F238E27FC236}">
                  <a16:creationId xmlns="" xmlns:a16="http://schemas.microsoft.com/office/drawing/2014/main" id="{E5C31136-9518-488D-A7BA-0E92E84E8BE9}"/>
                </a:ext>
              </a:extLst>
            </p:cNvPr>
            <p:cNvSpPr/>
            <p:nvPr/>
          </p:nvSpPr>
          <p:spPr bwMode="auto">
            <a:xfrm>
              <a:off x="4940301" y="3128963"/>
              <a:ext cx="846138" cy="2994025"/>
            </a:xfrm>
            <a:custGeom>
              <a:avLst/>
              <a:gdLst>
                <a:gd name="T0" fmla="*/ 0 w 533"/>
                <a:gd name="T1" fmla="*/ 1886 h 1886"/>
                <a:gd name="T2" fmla="*/ 533 w 533"/>
                <a:gd name="T3" fmla="*/ 92 h 1886"/>
                <a:gd name="T4" fmla="*/ 487 w 533"/>
                <a:gd name="T5" fmla="*/ 0 h 1886"/>
                <a:gd name="T6" fmla="*/ 202 w 533"/>
                <a:gd name="T7" fmla="*/ 92 h 1886"/>
                <a:gd name="T8" fmla="*/ 310 w 533"/>
                <a:gd name="T9" fmla="*/ 1466 h 1886"/>
                <a:gd name="T10" fmla="*/ 456 w 533"/>
                <a:gd name="T11" fmla="*/ 1517 h 1886"/>
                <a:gd name="T12" fmla="*/ 310 w 533"/>
                <a:gd name="T13" fmla="*/ 1466 h 1886"/>
                <a:gd name="T14" fmla="*/ 456 w 533"/>
                <a:gd name="T15" fmla="*/ 1346 h 1886"/>
                <a:gd name="T16" fmla="*/ 310 w 533"/>
                <a:gd name="T17" fmla="*/ 1397 h 1886"/>
                <a:gd name="T18" fmla="*/ 310 w 533"/>
                <a:gd name="T19" fmla="*/ 1226 h 1886"/>
                <a:gd name="T20" fmla="*/ 456 w 533"/>
                <a:gd name="T21" fmla="*/ 1277 h 1886"/>
                <a:gd name="T22" fmla="*/ 310 w 533"/>
                <a:gd name="T23" fmla="*/ 1226 h 1886"/>
                <a:gd name="T24" fmla="*/ 456 w 533"/>
                <a:gd name="T25" fmla="*/ 1106 h 1886"/>
                <a:gd name="T26" fmla="*/ 310 w 533"/>
                <a:gd name="T27" fmla="*/ 1157 h 1886"/>
                <a:gd name="T28" fmla="*/ 310 w 533"/>
                <a:gd name="T29" fmla="*/ 866 h 1886"/>
                <a:gd name="T30" fmla="*/ 456 w 533"/>
                <a:gd name="T31" fmla="*/ 917 h 1886"/>
                <a:gd name="T32" fmla="*/ 310 w 533"/>
                <a:gd name="T33" fmla="*/ 866 h 1886"/>
                <a:gd name="T34" fmla="*/ 456 w 533"/>
                <a:gd name="T35" fmla="*/ 747 h 1886"/>
                <a:gd name="T36" fmla="*/ 310 w 533"/>
                <a:gd name="T37" fmla="*/ 797 h 1886"/>
                <a:gd name="T38" fmla="*/ 310 w 533"/>
                <a:gd name="T39" fmla="*/ 627 h 1886"/>
                <a:gd name="T40" fmla="*/ 456 w 533"/>
                <a:gd name="T41" fmla="*/ 677 h 1886"/>
                <a:gd name="T42" fmla="*/ 310 w 533"/>
                <a:gd name="T43" fmla="*/ 627 h 1886"/>
                <a:gd name="T44" fmla="*/ 456 w 533"/>
                <a:gd name="T45" fmla="*/ 507 h 1886"/>
                <a:gd name="T46" fmla="*/ 310 w 533"/>
                <a:gd name="T47" fmla="*/ 557 h 1886"/>
                <a:gd name="T48" fmla="*/ 310 w 533"/>
                <a:gd name="T49" fmla="*/ 267 h 1886"/>
                <a:gd name="T50" fmla="*/ 456 w 533"/>
                <a:gd name="T51" fmla="*/ 317 h 1886"/>
                <a:gd name="T52" fmla="*/ 310 w 533"/>
                <a:gd name="T53" fmla="*/ 267 h 1886"/>
                <a:gd name="T54" fmla="*/ 223 w 533"/>
                <a:gd name="T55" fmla="*/ 1586 h 1886"/>
                <a:gd name="T56" fmla="*/ 77 w 533"/>
                <a:gd name="T57" fmla="*/ 1637 h 1886"/>
                <a:gd name="T58" fmla="*/ 77 w 533"/>
                <a:gd name="T59" fmla="*/ 1466 h 1886"/>
                <a:gd name="T60" fmla="*/ 223 w 533"/>
                <a:gd name="T61" fmla="*/ 1517 h 1886"/>
                <a:gd name="T62" fmla="*/ 77 w 533"/>
                <a:gd name="T63" fmla="*/ 1466 h 1886"/>
                <a:gd name="T64" fmla="*/ 223 w 533"/>
                <a:gd name="T65" fmla="*/ 1226 h 1886"/>
                <a:gd name="T66" fmla="*/ 77 w 533"/>
                <a:gd name="T67" fmla="*/ 1277 h 1886"/>
                <a:gd name="T68" fmla="*/ 77 w 533"/>
                <a:gd name="T69" fmla="*/ 986 h 1886"/>
                <a:gd name="T70" fmla="*/ 223 w 533"/>
                <a:gd name="T71" fmla="*/ 1037 h 1886"/>
                <a:gd name="T72" fmla="*/ 77 w 533"/>
                <a:gd name="T73" fmla="*/ 986 h 1886"/>
                <a:gd name="T74" fmla="*/ 223 w 533"/>
                <a:gd name="T75" fmla="*/ 866 h 1886"/>
                <a:gd name="T76" fmla="*/ 77 w 533"/>
                <a:gd name="T77" fmla="*/ 917 h 1886"/>
                <a:gd name="T78" fmla="*/ 77 w 533"/>
                <a:gd name="T79" fmla="*/ 627 h 1886"/>
                <a:gd name="T80" fmla="*/ 223 w 533"/>
                <a:gd name="T81" fmla="*/ 677 h 1886"/>
                <a:gd name="T82" fmla="*/ 77 w 533"/>
                <a:gd name="T83" fmla="*/ 627 h 1886"/>
                <a:gd name="T84" fmla="*/ 223 w 533"/>
                <a:gd name="T85" fmla="*/ 387 h 1886"/>
                <a:gd name="T86" fmla="*/ 77 w 533"/>
                <a:gd name="T87" fmla="*/ 437 h 1886"/>
                <a:gd name="T88" fmla="*/ 77 w 533"/>
                <a:gd name="T89" fmla="*/ 267 h 1886"/>
                <a:gd name="T90" fmla="*/ 223 w 533"/>
                <a:gd name="T91" fmla="*/ 317 h 1886"/>
                <a:gd name="T92" fmla="*/ 77 w 533"/>
                <a:gd name="T93" fmla="*/ 267 h 1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33" h="1886">
                  <a:moveTo>
                    <a:pt x="0" y="92"/>
                  </a:moveTo>
                  <a:lnTo>
                    <a:pt x="0" y="1886"/>
                  </a:lnTo>
                  <a:lnTo>
                    <a:pt x="533" y="1886"/>
                  </a:lnTo>
                  <a:lnTo>
                    <a:pt x="533" y="92"/>
                  </a:lnTo>
                  <a:lnTo>
                    <a:pt x="487" y="92"/>
                  </a:lnTo>
                  <a:lnTo>
                    <a:pt x="487" y="0"/>
                  </a:lnTo>
                  <a:lnTo>
                    <a:pt x="202" y="0"/>
                  </a:lnTo>
                  <a:lnTo>
                    <a:pt x="202" y="92"/>
                  </a:lnTo>
                  <a:lnTo>
                    <a:pt x="0" y="92"/>
                  </a:lnTo>
                  <a:close/>
                  <a:moveTo>
                    <a:pt x="310" y="1466"/>
                  </a:moveTo>
                  <a:lnTo>
                    <a:pt x="456" y="1466"/>
                  </a:lnTo>
                  <a:lnTo>
                    <a:pt x="456" y="1517"/>
                  </a:lnTo>
                  <a:lnTo>
                    <a:pt x="310" y="1517"/>
                  </a:lnTo>
                  <a:lnTo>
                    <a:pt x="310" y="1466"/>
                  </a:lnTo>
                  <a:close/>
                  <a:moveTo>
                    <a:pt x="310" y="1346"/>
                  </a:moveTo>
                  <a:lnTo>
                    <a:pt x="456" y="1346"/>
                  </a:lnTo>
                  <a:lnTo>
                    <a:pt x="456" y="1397"/>
                  </a:lnTo>
                  <a:lnTo>
                    <a:pt x="310" y="1397"/>
                  </a:lnTo>
                  <a:lnTo>
                    <a:pt x="310" y="1346"/>
                  </a:lnTo>
                  <a:close/>
                  <a:moveTo>
                    <a:pt x="310" y="1226"/>
                  </a:moveTo>
                  <a:lnTo>
                    <a:pt x="456" y="1226"/>
                  </a:lnTo>
                  <a:lnTo>
                    <a:pt x="456" y="1277"/>
                  </a:lnTo>
                  <a:lnTo>
                    <a:pt x="310" y="1277"/>
                  </a:lnTo>
                  <a:lnTo>
                    <a:pt x="310" y="1226"/>
                  </a:lnTo>
                  <a:close/>
                  <a:moveTo>
                    <a:pt x="310" y="1106"/>
                  </a:moveTo>
                  <a:lnTo>
                    <a:pt x="456" y="1106"/>
                  </a:lnTo>
                  <a:lnTo>
                    <a:pt x="456" y="1157"/>
                  </a:lnTo>
                  <a:lnTo>
                    <a:pt x="310" y="1157"/>
                  </a:lnTo>
                  <a:lnTo>
                    <a:pt x="310" y="1106"/>
                  </a:lnTo>
                  <a:close/>
                  <a:moveTo>
                    <a:pt x="310" y="866"/>
                  </a:moveTo>
                  <a:lnTo>
                    <a:pt x="456" y="866"/>
                  </a:lnTo>
                  <a:lnTo>
                    <a:pt x="456" y="917"/>
                  </a:lnTo>
                  <a:lnTo>
                    <a:pt x="310" y="917"/>
                  </a:lnTo>
                  <a:lnTo>
                    <a:pt x="310" y="866"/>
                  </a:lnTo>
                  <a:close/>
                  <a:moveTo>
                    <a:pt x="310" y="747"/>
                  </a:moveTo>
                  <a:lnTo>
                    <a:pt x="456" y="747"/>
                  </a:lnTo>
                  <a:lnTo>
                    <a:pt x="456" y="797"/>
                  </a:lnTo>
                  <a:lnTo>
                    <a:pt x="310" y="797"/>
                  </a:lnTo>
                  <a:lnTo>
                    <a:pt x="310" y="747"/>
                  </a:lnTo>
                  <a:close/>
                  <a:moveTo>
                    <a:pt x="310" y="627"/>
                  </a:moveTo>
                  <a:lnTo>
                    <a:pt x="456" y="627"/>
                  </a:lnTo>
                  <a:lnTo>
                    <a:pt x="456" y="677"/>
                  </a:lnTo>
                  <a:lnTo>
                    <a:pt x="310" y="677"/>
                  </a:lnTo>
                  <a:lnTo>
                    <a:pt x="310" y="627"/>
                  </a:lnTo>
                  <a:close/>
                  <a:moveTo>
                    <a:pt x="310" y="507"/>
                  </a:moveTo>
                  <a:lnTo>
                    <a:pt x="456" y="507"/>
                  </a:lnTo>
                  <a:lnTo>
                    <a:pt x="456" y="557"/>
                  </a:lnTo>
                  <a:lnTo>
                    <a:pt x="310" y="557"/>
                  </a:lnTo>
                  <a:lnTo>
                    <a:pt x="310" y="507"/>
                  </a:lnTo>
                  <a:close/>
                  <a:moveTo>
                    <a:pt x="310" y="267"/>
                  </a:moveTo>
                  <a:lnTo>
                    <a:pt x="456" y="267"/>
                  </a:lnTo>
                  <a:lnTo>
                    <a:pt x="456" y="317"/>
                  </a:lnTo>
                  <a:lnTo>
                    <a:pt x="310" y="317"/>
                  </a:lnTo>
                  <a:lnTo>
                    <a:pt x="310" y="267"/>
                  </a:lnTo>
                  <a:close/>
                  <a:moveTo>
                    <a:pt x="77" y="1586"/>
                  </a:moveTo>
                  <a:lnTo>
                    <a:pt x="223" y="1586"/>
                  </a:lnTo>
                  <a:lnTo>
                    <a:pt x="223" y="1637"/>
                  </a:lnTo>
                  <a:lnTo>
                    <a:pt x="77" y="1637"/>
                  </a:lnTo>
                  <a:lnTo>
                    <a:pt x="77" y="1586"/>
                  </a:lnTo>
                  <a:close/>
                  <a:moveTo>
                    <a:pt x="77" y="1466"/>
                  </a:moveTo>
                  <a:lnTo>
                    <a:pt x="223" y="1466"/>
                  </a:lnTo>
                  <a:lnTo>
                    <a:pt x="223" y="1517"/>
                  </a:lnTo>
                  <a:lnTo>
                    <a:pt x="77" y="1517"/>
                  </a:lnTo>
                  <a:lnTo>
                    <a:pt x="77" y="1466"/>
                  </a:lnTo>
                  <a:close/>
                  <a:moveTo>
                    <a:pt x="77" y="1226"/>
                  </a:moveTo>
                  <a:lnTo>
                    <a:pt x="223" y="1226"/>
                  </a:lnTo>
                  <a:lnTo>
                    <a:pt x="223" y="1277"/>
                  </a:lnTo>
                  <a:lnTo>
                    <a:pt x="77" y="1277"/>
                  </a:lnTo>
                  <a:lnTo>
                    <a:pt x="77" y="1226"/>
                  </a:lnTo>
                  <a:close/>
                  <a:moveTo>
                    <a:pt x="77" y="986"/>
                  </a:moveTo>
                  <a:lnTo>
                    <a:pt x="223" y="986"/>
                  </a:lnTo>
                  <a:lnTo>
                    <a:pt x="223" y="1037"/>
                  </a:lnTo>
                  <a:lnTo>
                    <a:pt x="77" y="1037"/>
                  </a:lnTo>
                  <a:lnTo>
                    <a:pt x="77" y="986"/>
                  </a:lnTo>
                  <a:close/>
                  <a:moveTo>
                    <a:pt x="77" y="866"/>
                  </a:moveTo>
                  <a:lnTo>
                    <a:pt x="223" y="866"/>
                  </a:lnTo>
                  <a:lnTo>
                    <a:pt x="223" y="917"/>
                  </a:lnTo>
                  <a:lnTo>
                    <a:pt x="77" y="917"/>
                  </a:lnTo>
                  <a:lnTo>
                    <a:pt x="77" y="866"/>
                  </a:lnTo>
                  <a:close/>
                  <a:moveTo>
                    <a:pt x="77" y="627"/>
                  </a:moveTo>
                  <a:lnTo>
                    <a:pt x="223" y="627"/>
                  </a:lnTo>
                  <a:lnTo>
                    <a:pt x="223" y="677"/>
                  </a:lnTo>
                  <a:lnTo>
                    <a:pt x="77" y="677"/>
                  </a:lnTo>
                  <a:lnTo>
                    <a:pt x="77" y="627"/>
                  </a:lnTo>
                  <a:close/>
                  <a:moveTo>
                    <a:pt x="77" y="387"/>
                  </a:moveTo>
                  <a:lnTo>
                    <a:pt x="223" y="387"/>
                  </a:lnTo>
                  <a:lnTo>
                    <a:pt x="223" y="437"/>
                  </a:lnTo>
                  <a:lnTo>
                    <a:pt x="77" y="437"/>
                  </a:lnTo>
                  <a:lnTo>
                    <a:pt x="77" y="387"/>
                  </a:lnTo>
                  <a:close/>
                  <a:moveTo>
                    <a:pt x="77" y="267"/>
                  </a:moveTo>
                  <a:lnTo>
                    <a:pt x="223" y="267"/>
                  </a:lnTo>
                  <a:lnTo>
                    <a:pt x="223" y="317"/>
                  </a:lnTo>
                  <a:lnTo>
                    <a:pt x="77" y="317"/>
                  </a:lnTo>
                  <a:lnTo>
                    <a:pt x="77" y="26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endParaRPr lang="ru-RU"/>
            </a:p>
          </p:txBody>
        </p:sp>
        <p:sp>
          <p:nvSpPr>
            <p:cNvPr id="44" name="íS1ïďe">
              <a:extLst>
                <a:ext uri="{FF2B5EF4-FFF2-40B4-BE49-F238E27FC236}">
                  <a16:creationId xmlns="" xmlns:a16="http://schemas.microsoft.com/office/drawing/2014/main" id="{F9ECF5B2-A10D-4961-AAA2-4270EBBF1233}"/>
                </a:ext>
              </a:extLst>
            </p:cNvPr>
            <p:cNvSpPr/>
            <p:nvPr/>
          </p:nvSpPr>
          <p:spPr bwMode="auto">
            <a:xfrm>
              <a:off x="3973513" y="3460750"/>
              <a:ext cx="846138" cy="2662238"/>
            </a:xfrm>
            <a:custGeom>
              <a:avLst/>
              <a:gdLst>
                <a:gd name="T0" fmla="*/ 0 w 533"/>
                <a:gd name="T1" fmla="*/ 1677 h 1677"/>
                <a:gd name="T2" fmla="*/ 533 w 533"/>
                <a:gd name="T3" fmla="*/ 204 h 1677"/>
                <a:gd name="T4" fmla="*/ 437 w 533"/>
                <a:gd name="T5" fmla="*/ 0 h 1677"/>
                <a:gd name="T6" fmla="*/ 329 w 533"/>
                <a:gd name="T7" fmla="*/ 204 h 1677"/>
                <a:gd name="T8" fmla="*/ 401 w 533"/>
                <a:gd name="T9" fmla="*/ 1252 h 1677"/>
                <a:gd name="T10" fmla="*/ 473 w 533"/>
                <a:gd name="T11" fmla="*/ 1324 h 1677"/>
                <a:gd name="T12" fmla="*/ 401 w 533"/>
                <a:gd name="T13" fmla="*/ 1252 h 1677"/>
                <a:gd name="T14" fmla="*/ 473 w 533"/>
                <a:gd name="T15" fmla="*/ 1104 h 1677"/>
                <a:gd name="T16" fmla="*/ 401 w 533"/>
                <a:gd name="T17" fmla="*/ 1176 h 1677"/>
                <a:gd name="T18" fmla="*/ 401 w 533"/>
                <a:gd name="T19" fmla="*/ 957 h 1677"/>
                <a:gd name="T20" fmla="*/ 473 w 533"/>
                <a:gd name="T21" fmla="*/ 1029 h 1677"/>
                <a:gd name="T22" fmla="*/ 401 w 533"/>
                <a:gd name="T23" fmla="*/ 957 h 1677"/>
                <a:gd name="T24" fmla="*/ 473 w 533"/>
                <a:gd name="T25" fmla="*/ 811 h 1677"/>
                <a:gd name="T26" fmla="*/ 401 w 533"/>
                <a:gd name="T27" fmla="*/ 883 h 1677"/>
                <a:gd name="T28" fmla="*/ 401 w 533"/>
                <a:gd name="T29" fmla="*/ 662 h 1677"/>
                <a:gd name="T30" fmla="*/ 473 w 533"/>
                <a:gd name="T31" fmla="*/ 734 h 1677"/>
                <a:gd name="T32" fmla="*/ 401 w 533"/>
                <a:gd name="T33" fmla="*/ 662 h 1677"/>
                <a:gd name="T34" fmla="*/ 473 w 533"/>
                <a:gd name="T35" fmla="*/ 516 h 1677"/>
                <a:gd name="T36" fmla="*/ 401 w 533"/>
                <a:gd name="T37" fmla="*/ 588 h 1677"/>
                <a:gd name="T38" fmla="*/ 288 w 533"/>
                <a:gd name="T39" fmla="*/ 1104 h 1677"/>
                <a:gd name="T40" fmla="*/ 360 w 533"/>
                <a:gd name="T41" fmla="*/ 1176 h 1677"/>
                <a:gd name="T42" fmla="*/ 288 w 533"/>
                <a:gd name="T43" fmla="*/ 1104 h 1677"/>
                <a:gd name="T44" fmla="*/ 360 w 533"/>
                <a:gd name="T45" fmla="*/ 957 h 1677"/>
                <a:gd name="T46" fmla="*/ 288 w 533"/>
                <a:gd name="T47" fmla="*/ 1029 h 1677"/>
                <a:gd name="T48" fmla="*/ 288 w 533"/>
                <a:gd name="T49" fmla="*/ 662 h 1677"/>
                <a:gd name="T50" fmla="*/ 360 w 533"/>
                <a:gd name="T51" fmla="*/ 734 h 1677"/>
                <a:gd name="T52" fmla="*/ 288 w 533"/>
                <a:gd name="T53" fmla="*/ 662 h 1677"/>
                <a:gd name="T54" fmla="*/ 360 w 533"/>
                <a:gd name="T55" fmla="*/ 516 h 1677"/>
                <a:gd name="T56" fmla="*/ 288 w 533"/>
                <a:gd name="T57" fmla="*/ 588 h 1677"/>
                <a:gd name="T58" fmla="*/ 288 w 533"/>
                <a:gd name="T59" fmla="*/ 370 h 1677"/>
                <a:gd name="T60" fmla="*/ 360 w 533"/>
                <a:gd name="T61" fmla="*/ 442 h 1677"/>
                <a:gd name="T62" fmla="*/ 288 w 533"/>
                <a:gd name="T63" fmla="*/ 370 h 1677"/>
                <a:gd name="T64" fmla="*/ 245 w 533"/>
                <a:gd name="T65" fmla="*/ 1252 h 1677"/>
                <a:gd name="T66" fmla="*/ 173 w 533"/>
                <a:gd name="T67" fmla="*/ 1324 h 1677"/>
                <a:gd name="T68" fmla="*/ 173 w 533"/>
                <a:gd name="T69" fmla="*/ 1104 h 1677"/>
                <a:gd name="T70" fmla="*/ 245 w 533"/>
                <a:gd name="T71" fmla="*/ 1176 h 1677"/>
                <a:gd name="T72" fmla="*/ 173 w 533"/>
                <a:gd name="T73" fmla="*/ 1104 h 1677"/>
                <a:gd name="T74" fmla="*/ 245 w 533"/>
                <a:gd name="T75" fmla="*/ 811 h 1677"/>
                <a:gd name="T76" fmla="*/ 173 w 533"/>
                <a:gd name="T77" fmla="*/ 883 h 1677"/>
                <a:gd name="T78" fmla="*/ 173 w 533"/>
                <a:gd name="T79" fmla="*/ 662 h 1677"/>
                <a:gd name="T80" fmla="*/ 245 w 533"/>
                <a:gd name="T81" fmla="*/ 734 h 1677"/>
                <a:gd name="T82" fmla="*/ 173 w 533"/>
                <a:gd name="T83" fmla="*/ 662 h 1677"/>
                <a:gd name="T84" fmla="*/ 245 w 533"/>
                <a:gd name="T85" fmla="*/ 516 h 1677"/>
                <a:gd name="T86" fmla="*/ 173 w 533"/>
                <a:gd name="T87" fmla="*/ 588 h 1677"/>
                <a:gd name="T88" fmla="*/ 173 w 533"/>
                <a:gd name="T89" fmla="*/ 370 h 1677"/>
                <a:gd name="T90" fmla="*/ 245 w 533"/>
                <a:gd name="T91" fmla="*/ 442 h 1677"/>
                <a:gd name="T92" fmla="*/ 173 w 533"/>
                <a:gd name="T93" fmla="*/ 370 h 1677"/>
                <a:gd name="T94" fmla="*/ 132 w 533"/>
                <a:gd name="T95" fmla="*/ 1252 h 1677"/>
                <a:gd name="T96" fmla="*/ 60 w 533"/>
                <a:gd name="T97" fmla="*/ 1324 h 1677"/>
                <a:gd name="T98" fmla="*/ 60 w 533"/>
                <a:gd name="T99" fmla="*/ 1104 h 1677"/>
                <a:gd name="T100" fmla="*/ 132 w 533"/>
                <a:gd name="T101" fmla="*/ 1176 h 1677"/>
                <a:gd name="T102" fmla="*/ 60 w 533"/>
                <a:gd name="T103" fmla="*/ 1104 h 1677"/>
                <a:gd name="T104" fmla="*/ 132 w 533"/>
                <a:gd name="T105" fmla="*/ 957 h 1677"/>
                <a:gd name="T106" fmla="*/ 60 w 533"/>
                <a:gd name="T107" fmla="*/ 1029 h 1677"/>
                <a:gd name="T108" fmla="*/ 60 w 533"/>
                <a:gd name="T109" fmla="*/ 811 h 1677"/>
                <a:gd name="T110" fmla="*/ 132 w 533"/>
                <a:gd name="T111" fmla="*/ 883 h 1677"/>
                <a:gd name="T112" fmla="*/ 60 w 533"/>
                <a:gd name="T113" fmla="*/ 811 h 1677"/>
                <a:gd name="T114" fmla="*/ 132 w 533"/>
                <a:gd name="T115" fmla="*/ 516 h 1677"/>
                <a:gd name="T116" fmla="*/ 60 w 533"/>
                <a:gd name="T117" fmla="*/ 588 h 16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533" h="1677">
                  <a:moveTo>
                    <a:pt x="0" y="204"/>
                  </a:moveTo>
                  <a:lnTo>
                    <a:pt x="0" y="1677"/>
                  </a:lnTo>
                  <a:lnTo>
                    <a:pt x="533" y="1677"/>
                  </a:lnTo>
                  <a:lnTo>
                    <a:pt x="533" y="204"/>
                  </a:lnTo>
                  <a:lnTo>
                    <a:pt x="437" y="204"/>
                  </a:lnTo>
                  <a:lnTo>
                    <a:pt x="437" y="0"/>
                  </a:lnTo>
                  <a:lnTo>
                    <a:pt x="329" y="0"/>
                  </a:lnTo>
                  <a:lnTo>
                    <a:pt x="329" y="204"/>
                  </a:lnTo>
                  <a:lnTo>
                    <a:pt x="0" y="204"/>
                  </a:lnTo>
                  <a:close/>
                  <a:moveTo>
                    <a:pt x="401" y="1252"/>
                  </a:moveTo>
                  <a:lnTo>
                    <a:pt x="473" y="1252"/>
                  </a:lnTo>
                  <a:lnTo>
                    <a:pt x="473" y="1324"/>
                  </a:lnTo>
                  <a:lnTo>
                    <a:pt x="401" y="1324"/>
                  </a:lnTo>
                  <a:lnTo>
                    <a:pt x="401" y="1252"/>
                  </a:lnTo>
                  <a:close/>
                  <a:moveTo>
                    <a:pt x="401" y="1104"/>
                  </a:moveTo>
                  <a:lnTo>
                    <a:pt x="473" y="1104"/>
                  </a:lnTo>
                  <a:lnTo>
                    <a:pt x="473" y="1176"/>
                  </a:lnTo>
                  <a:lnTo>
                    <a:pt x="401" y="1176"/>
                  </a:lnTo>
                  <a:lnTo>
                    <a:pt x="401" y="1104"/>
                  </a:lnTo>
                  <a:close/>
                  <a:moveTo>
                    <a:pt x="401" y="957"/>
                  </a:moveTo>
                  <a:lnTo>
                    <a:pt x="473" y="957"/>
                  </a:lnTo>
                  <a:lnTo>
                    <a:pt x="473" y="1029"/>
                  </a:lnTo>
                  <a:lnTo>
                    <a:pt x="401" y="1029"/>
                  </a:lnTo>
                  <a:lnTo>
                    <a:pt x="401" y="957"/>
                  </a:lnTo>
                  <a:close/>
                  <a:moveTo>
                    <a:pt x="401" y="811"/>
                  </a:moveTo>
                  <a:lnTo>
                    <a:pt x="473" y="811"/>
                  </a:lnTo>
                  <a:lnTo>
                    <a:pt x="473" y="883"/>
                  </a:lnTo>
                  <a:lnTo>
                    <a:pt x="401" y="883"/>
                  </a:lnTo>
                  <a:lnTo>
                    <a:pt x="401" y="811"/>
                  </a:lnTo>
                  <a:close/>
                  <a:moveTo>
                    <a:pt x="401" y="662"/>
                  </a:moveTo>
                  <a:lnTo>
                    <a:pt x="473" y="662"/>
                  </a:lnTo>
                  <a:lnTo>
                    <a:pt x="473" y="734"/>
                  </a:lnTo>
                  <a:lnTo>
                    <a:pt x="401" y="734"/>
                  </a:lnTo>
                  <a:lnTo>
                    <a:pt x="401" y="662"/>
                  </a:lnTo>
                  <a:close/>
                  <a:moveTo>
                    <a:pt x="401" y="516"/>
                  </a:moveTo>
                  <a:lnTo>
                    <a:pt x="473" y="516"/>
                  </a:lnTo>
                  <a:lnTo>
                    <a:pt x="473" y="588"/>
                  </a:lnTo>
                  <a:lnTo>
                    <a:pt x="401" y="588"/>
                  </a:lnTo>
                  <a:lnTo>
                    <a:pt x="401" y="516"/>
                  </a:lnTo>
                  <a:close/>
                  <a:moveTo>
                    <a:pt x="288" y="1104"/>
                  </a:moveTo>
                  <a:lnTo>
                    <a:pt x="360" y="1104"/>
                  </a:lnTo>
                  <a:lnTo>
                    <a:pt x="360" y="1176"/>
                  </a:lnTo>
                  <a:lnTo>
                    <a:pt x="288" y="1176"/>
                  </a:lnTo>
                  <a:lnTo>
                    <a:pt x="288" y="1104"/>
                  </a:lnTo>
                  <a:close/>
                  <a:moveTo>
                    <a:pt x="288" y="957"/>
                  </a:moveTo>
                  <a:lnTo>
                    <a:pt x="360" y="957"/>
                  </a:lnTo>
                  <a:lnTo>
                    <a:pt x="360" y="1029"/>
                  </a:lnTo>
                  <a:lnTo>
                    <a:pt x="288" y="1029"/>
                  </a:lnTo>
                  <a:lnTo>
                    <a:pt x="288" y="957"/>
                  </a:lnTo>
                  <a:close/>
                  <a:moveTo>
                    <a:pt x="288" y="662"/>
                  </a:moveTo>
                  <a:lnTo>
                    <a:pt x="360" y="662"/>
                  </a:lnTo>
                  <a:lnTo>
                    <a:pt x="360" y="734"/>
                  </a:lnTo>
                  <a:lnTo>
                    <a:pt x="288" y="734"/>
                  </a:lnTo>
                  <a:lnTo>
                    <a:pt x="288" y="662"/>
                  </a:lnTo>
                  <a:close/>
                  <a:moveTo>
                    <a:pt x="288" y="516"/>
                  </a:moveTo>
                  <a:lnTo>
                    <a:pt x="360" y="516"/>
                  </a:lnTo>
                  <a:lnTo>
                    <a:pt x="360" y="588"/>
                  </a:lnTo>
                  <a:lnTo>
                    <a:pt x="288" y="588"/>
                  </a:lnTo>
                  <a:lnTo>
                    <a:pt x="288" y="516"/>
                  </a:lnTo>
                  <a:close/>
                  <a:moveTo>
                    <a:pt x="288" y="370"/>
                  </a:moveTo>
                  <a:lnTo>
                    <a:pt x="360" y="370"/>
                  </a:lnTo>
                  <a:lnTo>
                    <a:pt x="360" y="442"/>
                  </a:lnTo>
                  <a:lnTo>
                    <a:pt x="288" y="442"/>
                  </a:lnTo>
                  <a:lnTo>
                    <a:pt x="288" y="370"/>
                  </a:lnTo>
                  <a:close/>
                  <a:moveTo>
                    <a:pt x="173" y="1252"/>
                  </a:moveTo>
                  <a:lnTo>
                    <a:pt x="245" y="1252"/>
                  </a:lnTo>
                  <a:lnTo>
                    <a:pt x="245" y="1324"/>
                  </a:lnTo>
                  <a:lnTo>
                    <a:pt x="173" y="1324"/>
                  </a:lnTo>
                  <a:lnTo>
                    <a:pt x="173" y="1252"/>
                  </a:lnTo>
                  <a:close/>
                  <a:moveTo>
                    <a:pt x="173" y="1104"/>
                  </a:moveTo>
                  <a:lnTo>
                    <a:pt x="245" y="1104"/>
                  </a:lnTo>
                  <a:lnTo>
                    <a:pt x="245" y="1176"/>
                  </a:lnTo>
                  <a:lnTo>
                    <a:pt x="173" y="1176"/>
                  </a:lnTo>
                  <a:lnTo>
                    <a:pt x="173" y="1104"/>
                  </a:lnTo>
                  <a:close/>
                  <a:moveTo>
                    <a:pt x="173" y="811"/>
                  </a:moveTo>
                  <a:lnTo>
                    <a:pt x="245" y="811"/>
                  </a:lnTo>
                  <a:lnTo>
                    <a:pt x="245" y="883"/>
                  </a:lnTo>
                  <a:lnTo>
                    <a:pt x="173" y="883"/>
                  </a:lnTo>
                  <a:lnTo>
                    <a:pt x="173" y="811"/>
                  </a:lnTo>
                  <a:close/>
                  <a:moveTo>
                    <a:pt x="173" y="662"/>
                  </a:moveTo>
                  <a:lnTo>
                    <a:pt x="245" y="662"/>
                  </a:lnTo>
                  <a:lnTo>
                    <a:pt x="245" y="734"/>
                  </a:lnTo>
                  <a:lnTo>
                    <a:pt x="173" y="734"/>
                  </a:lnTo>
                  <a:lnTo>
                    <a:pt x="173" y="662"/>
                  </a:lnTo>
                  <a:close/>
                  <a:moveTo>
                    <a:pt x="173" y="516"/>
                  </a:moveTo>
                  <a:lnTo>
                    <a:pt x="245" y="516"/>
                  </a:lnTo>
                  <a:lnTo>
                    <a:pt x="245" y="588"/>
                  </a:lnTo>
                  <a:lnTo>
                    <a:pt x="173" y="588"/>
                  </a:lnTo>
                  <a:lnTo>
                    <a:pt x="173" y="516"/>
                  </a:lnTo>
                  <a:close/>
                  <a:moveTo>
                    <a:pt x="173" y="370"/>
                  </a:moveTo>
                  <a:lnTo>
                    <a:pt x="245" y="370"/>
                  </a:lnTo>
                  <a:lnTo>
                    <a:pt x="245" y="442"/>
                  </a:lnTo>
                  <a:lnTo>
                    <a:pt x="173" y="442"/>
                  </a:lnTo>
                  <a:lnTo>
                    <a:pt x="173" y="370"/>
                  </a:lnTo>
                  <a:close/>
                  <a:moveTo>
                    <a:pt x="60" y="1252"/>
                  </a:moveTo>
                  <a:lnTo>
                    <a:pt x="132" y="1252"/>
                  </a:lnTo>
                  <a:lnTo>
                    <a:pt x="132" y="1324"/>
                  </a:lnTo>
                  <a:lnTo>
                    <a:pt x="60" y="1324"/>
                  </a:lnTo>
                  <a:lnTo>
                    <a:pt x="60" y="1252"/>
                  </a:lnTo>
                  <a:close/>
                  <a:moveTo>
                    <a:pt x="60" y="1104"/>
                  </a:moveTo>
                  <a:lnTo>
                    <a:pt x="132" y="1104"/>
                  </a:lnTo>
                  <a:lnTo>
                    <a:pt x="132" y="1176"/>
                  </a:lnTo>
                  <a:lnTo>
                    <a:pt x="60" y="1176"/>
                  </a:lnTo>
                  <a:lnTo>
                    <a:pt x="60" y="1104"/>
                  </a:lnTo>
                  <a:close/>
                  <a:moveTo>
                    <a:pt x="60" y="957"/>
                  </a:moveTo>
                  <a:lnTo>
                    <a:pt x="132" y="957"/>
                  </a:lnTo>
                  <a:lnTo>
                    <a:pt x="132" y="1029"/>
                  </a:lnTo>
                  <a:lnTo>
                    <a:pt x="60" y="1029"/>
                  </a:lnTo>
                  <a:lnTo>
                    <a:pt x="60" y="957"/>
                  </a:lnTo>
                  <a:close/>
                  <a:moveTo>
                    <a:pt x="60" y="811"/>
                  </a:moveTo>
                  <a:lnTo>
                    <a:pt x="132" y="811"/>
                  </a:lnTo>
                  <a:lnTo>
                    <a:pt x="132" y="883"/>
                  </a:lnTo>
                  <a:lnTo>
                    <a:pt x="60" y="883"/>
                  </a:lnTo>
                  <a:lnTo>
                    <a:pt x="60" y="811"/>
                  </a:lnTo>
                  <a:close/>
                  <a:moveTo>
                    <a:pt x="60" y="516"/>
                  </a:moveTo>
                  <a:lnTo>
                    <a:pt x="132" y="516"/>
                  </a:lnTo>
                  <a:lnTo>
                    <a:pt x="132" y="588"/>
                  </a:lnTo>
                  <a:lnTo>
                    <a:pt x="60" y="588"/>
                  </a:lnTo>
                  <a:lnTo>
                    <a:pt x="60" y="5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endParaRPr lang="ru-RU"/>
            </a:p>
          </p:txBody>
        </p:sp>
        <p:sp>
          <p:nvSpPr>
            <p:cNvPr id="45" name="í$ḷiďe">
              <a:extLst>
                <a:ext uri="{FF2B5EF4-FFF2-40B4-BE49-F238E27FC236}">
                  <a16:creationId xmlns="" xmlns:a16="http://schemas.microsoft.com/office/drawing/2014/main" id="{6F45AAA7-2AAC-419E-AE51-24E6A20854EA}"/>
                </a:ext>
              </a:extLst>
            </p:cNvPr>
            <p:cNvSpPr/>
            <p:nvPr/>
          </p:nvSpPr>
          <p:spPr bwMode="auto">
            <a:xfrm>
              <a:off x="5907088" y="4092575"/>
              <a:ext cx="846138" cy="2030413"/>
            </a:xfrm>
            <a:custGeom>
              <a:avLst/>
              <a:gdLst>
                <a:gd name="T0" fmla="*/ 0 w 533"/>
                <a:gd name="T1" fmla="*/ 224 h 1279"/>
                <a:gd name="T2" fmla="*/ 0 w 533"/>
                <a:gd name="T3" fmla="*/ 1279 h 1279"/>
                <a:gd name="T4" fmla="*/ 533 w 533"/>
                <a:gd name="T5" fmla="*/ 1279 h 1279"/>
                <a:gd name="T6" fmla="*/ 533 w 533"/>
                <a:gd name="T7" fmla="*/ 224 h 1279"/>
                <a:gd name="T8" fmla="*/ 451 w 533"/>
                <a:gd name="T9" fmla="*/ 224 h 1279"/>
                <a:gd name="T10" fmla="*/ 451 w 533"/>
                <a:gd name="T11" fmla="*/ 116 h 1279"/>
                <a:gd name="T12" fmla="*/ 82 w 533"/>
                <a:gd name="T13" fmla="*/ 0 h 1279"/>
                <a:gd name="T14" fmla="*/ 82 w 533"/>
                <a:gd name="T15" fmla="*/ 224 h 1279"/>
                <a:gd name="T16" fmla="*/ 0 w 533"/>
                <a:gd name="T17" fmla="*/ 224 h 1279"/>
                <a:gd name="T18" fmla="*/ 324 w 533"/>
                <a:gd name="T19" fmla="*/ 792 h 1279"/>
                <a:gd name="T20" fmla="*/ 432 w 533"/>
                <a:gd name="T21" fmla="*/ 792 h 1279"/>
                <a:gd name="T22" fmla="*/ 432 w 533"/>
                <a:gd name="T23" fmla="*/ 900 h 1279"/>
                <a:gd name="T24" fmla="*/ 324 w 533"/>
                <a:gd name="T25" fmla="*/ 900 h 1279"/>
                <a:gd name="T26" fmla="*/ 324 w 533"/>
                <a:gd name="T27" fmla="*/ 792 h 1279"/>
                <a:gd name="T28" fmla="*/ 324 w 533"/>
                <a:gd name="T29" fmla="*/ 574 h 1279"/>
                <a:gd name="T30" fmla="*/ 432 w 533"/>
                <a:gd name="T31" fmla="*/ 574 h 1279"/>
                <a:gd name="T32" fmla="*/ 432 w 533"/>
                <a:gd name="T33" fmla="*/ 682 h 1279"/>
                <a:gd name="T34" fmla="*/ 324 w 533"/>
                <a:gd name="T35" fmla="*/ 682 h 1279"/>
                <a:gd name="T36" fmla="*/ 324 w 533"/>
                <a:gd name="T37" fmla="*/ 574 h 1279"/>
                <a:gd name="T38" fmla="*/ 324 w 533"/>
                <a:gd name="T39" fmla="*/ 355 h 1279"/>
                <a:gd name="T40" fmla="*/ 432 w 533"/>
                <a:gd name="T41" fmla="*/ 355 h 1279"/>
                <a:gd name="T42" fmla="*/ 432 w 533"/>
                <a:gd name="T43" fmla="*/ 463 h 1279"/>
                <a:gd name="T44" fmla="*/ 324 w 533"/>
                <a:gd name="T45" fmla="*/ 463 h 1279"/>
                <a:gd name="T46" fmla="*/ 324 w 533"/>
                <a:gd name="T47" fmla="*/ 355 h 1279"/>
                <a:gd name="T48" fmla="*/ 101 w 533"/>
                <a:gd name="T49" fmla="*/ 792 h 1279"/>
                <a:gd name="T50" fmla="*/ 209 w 533"/>
                <a:gd name="T51" fmla="*/ 792 h 1279"/>
                <a:gd name="T52" fmla="*/ 209 w 533"/>
                <a:gd name="T53" fmla="*/ 900 h 1279"/>
                <a:gd name="T54" fmla="*/ 101 w 533"/>
                <a:gd name="T55" fmla="*/ 900 h 1279"/>
                <a:gd name="T56" fmla="*/ 101 w 533"/>
                <a:gd name="T57" fmla="*/ 792 h 1279"/>
                <a:gd name="T58" fmla="*/ 101 w 533"/>
                <a:gd name="T59" fmla="*/ 574 h 1279"/>
                <a:gd name="T60" fmla="*/ 209 w 533"/>
                <a:gd name="T61" fmla="*/ 574 h 1279"/>
                <a:gd name="T62" fmla="*/ 209 w 533"/>
                <a:gd name="T63" fmla="*/ 682 h 1279"/>
                <a:gd name="T64" fmla="*/ 101 w 533"/>
                <a:gd name="T65" fmla="*/ 682 h 1279"/>
                <a:gd name="T66" fmla="*/ 101 w 533"/>
                <a:gd name="T67" fmla="*/ 574 h 1279"/>
                <a:gd name="T68" fmla="*/ 101 w 533"/>
                <a:gd name="T69" fmla="*/ 355 h 1279"/>
                <a:gd name="T70" fmla="*/ 209 w 533"/>
                <a:gd name="T71" fmla="*/ 355 h 1279"/>
                <a:gd name="T72" fmla="*/ 209 w 533"/>
                <a:gd name="T73" fmla="*/ 463 h 1279"/>
                <a:gd name="T74" fmla="*/ 101 w 533"/>
                <a:gd name="T75" fmla="*/ 463 h 1279"/>
                <a:gd name="T76" fmla="*/ 101 w 533"/>
                <a:gd name="T77" fmla="*/ 355 h 1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533" h="1279">
                  <a:moveTo>
                    <a:pt x="0" y="224"/>
                  </a:moveTo>
                  <a:lnTo>
                    <a:pt x="0" y="1279"/>
                  </a:lnTo>
                  <a:lnTo>
                    <a:pt x="533" y="1279"/>
                  </a:lnTo>
                  <a:lnTo>
                    <a:pt x="533" y="224"/>
                  </a:lnTo>
                  <a:lnTo>
                    <a:pt x="451" y="224"/>
                  </a:lnTo>
                  <a:lnTo>
                    <a:pt x="451" y="116"/>
                  </a:lnTo>
                  <a:lnTo>
                    <a:pt x="82" y="0"/>
                  </a:lnTo>
                  <a:lnTo>
                    <a:pt x="82" y="224"/>
                  </a:lnTo>
                  <a:lnTo>
                    <a:pt x="0" y="224"/>
                  </a:lnTo>
                  <a:close/>
                  <a:moveTo>
                    <a:pt x="324" y="792"/>
                  </a:moveTo>
                  <a:lnTo>
                    <a:pt x="432" y="792"/>
                  </a:lnTo>
                  <a:lnTo>
                    <a:pt x="432" y="900"/>
                  </a:lnTo>
                  <a:lnTo>
                    <a:pt x="324" y="900"/>
                  </a:lnTo>
                  <a:lnTo>
                    <a:pt x="324" y="792"/>
                  </a:lnTo>
                  <a:close/>
                  <a:moveTo>
                    <a:pt x="324" y="574"/>
                  </a:moveTo>
                  <a:lnTo>
                    <a:pt x="432" y="574"/>
                  </a:lnTo>
                  <a:lnTo>
                    <a:pt x="432" y="682"/>
                  </a:lnTo>
                  <a:lnTo>
                    <a:pt x="324" y="682"/>
                  </a:lnTo>
                  <a:lnTo>
                    <a:pt x="324" y="574"/>
                  </a:lnTo>
                  <a:close/>
                  <a:moveTo>
                    <a:pt x="324" y="355"/>
                  </a:moveTo>
                  <a:lnTo>
                    <a:pt x="432" y="355"/>
                  </a:lnTo>
                  <a:lnTo>
                    <a:pt x="432" y="463"/>
                  </a:lnTo>
                  <a:lnTo>
                    <a:pt x="324" y="463"/>
                  </a:lnTo>
                  <a:lnTo>
                    <a:pt x="324" y="355"/>
                  </a:lnTo>
                  <a:close/>
                  <a:moveTo>
                    <a:pt x="101" y="792"/>
                  </a:moveTo>
                  <a:lnTo>
                    <a:pt x="209" y="792"/>
                  </a:lnTo>
                  <a:lnTo>
                    <a:pt x="209" y="900"/>
                  </a:lnTo>
                  <a:lnTo>
                    <a:pt x="101" y="900"/>
                  </a:lnTo>
                  <a:lnTo>
                    <a:pt x="101" y="792"/>
                  </a:lnTo>
                  <a:close/>
                  <a:moveTo>
                    <a:pt x="101" y="574"/>
                  </a:moveTo>
                  <a:lnTo>
                    <a:pt x="209" y="574"/>
                  </a:lnTo>
                  <a:lnTo>
                    <a:pt x="209" y="682"/>
                  </a:lnTo>
                  <a:lnTo>
                    <a:pt x="101" y="682"/>
                  </a:lnTo>
                  <a:lnTo>
                    <a:pt x="101" y="574"/>
                  </a:lnTo>
                  <a:close/>
                  <a:moveTo>
                    <a:pt x="101" y="355"/>
                  </a:moveTo>
                  <a:lnTo>
                    <a:pt x="209" y="355"/>
                  </a:lnTo>
                  <a:lnTo>
                    <a:pt x="209" y="463"/>
                  </a:lnTo>
                  <a:lnTo>
                    <a:pt x="101" y="463"/>
                  </a:lnTo>
                  <a:lnTo>
                    <a:pt x="101" y="35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endParaRPr lang="ru-RU"/>
            </a:p>
          </p:txBody>
        </p:sp>
      </p:grpSp>
      <p:sp>
        <p:nvSpPr>
          <p:cNvPr id="20" name="标题 1"/>
          <p:cNvSpPr>
            <a:spLocks noGrp="1"/>
          </p:cNvSpPr>
          <p:nvPr userDrawn="1">
            <p:ph type="title"/>
          </p:nvPr>
        </p:nvSpPr>
        <p:spPr>
          <a:xfrm>
            <a:off x="828387" y="2484134"/>
            <a:ext cx="5419185" cy="895350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"/>
          <p:cNvSpPr>
            <a:spLocks noGrp="1"/>
          </p:cNvSpPr>
          <p:nvPr userDrawn="1">
            <p:ph type="body" idx="1"/>
          </p:nvPr>
        </p:nvSpPr>
        <p:spPr>
          <a:xfrm>
            <a:off x="828387" y="3379484"/>
            <a:ext cx="5419185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00000"/>
              </a:lnSpc>
              <a:buNone/>
              <a:defRPr sz="1100">
                <a:solidFill>
                  <a:schemeClr val="tx1"/>
                </a:solidFill>
              </a:defRPr>
            </a:lvl1pPr>
            <a:lvl2pPr marL="45717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5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pic>
        <p:nvPicPr>
          <p:cNvPr id="26" name="图片 2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47572" y="4474859"/>
            <a:ext cx="4767354" cy="1950030"/>
          </a:xfrm>
          <a:prstGeom prst="rect">
            <a:avLst/>
          </a:prstGeom>
        </p:spPr>
      </p:pic>
      <p:sp>
        <p:nvSpPr>
          <p:cNvPr id="27" name="îslîḋê">
            <a:extLst>
              <a:ext uri="{FF2B5EF4-FFF2-40B4-BE49-F238E27FC236}">
                <a16:creationId xmlns="" xmlns:a16="http://schemas.microsoft.com/office/drawing/2014/main" id="{DCE20565-2A46-44FE-BA7F-54A048ABDDDC}"/>
              </a:ext>
            </a:extLst>
          </p:cNvPr>
          <p:cNvSpPr/>
          <p:nvPr userDrawn="1"/>
        </p:nvSpPr>
        <p:spPr bwMode="auto">
          <a:xfrm>
            <a:off x="4762" y="6024282"/>
            <a:ext cx="12187237" cy="825687"/>
          </a:xfrm>
          <a:custGeom>
            <a:avLst/>
            <a:gdLst>
              <a:gd name="T0" fmla="*/ 0 w 3200"/>
              <a:gd name="T1" fmla="*/ 129 h 391"/>
              <a:gd name="T2" fmla="*/ 3200 w 3200"/>
              <a:gd name="T3" fmla="*/ 0 h 391"/>
              <a:gd name="T4" fmla="*/ 3200 w 3200"/>
              <a:gd name="T5" fmla="*/ 268 h 391"/>
              <a:gd name="T6" fmla="*/ 0 w 3200"/>
              <a:gd name="T7" fmla="*/ 264 h 391"/>
              <a:gd name="T8" fmla="*/ 0 w 3200"/>
              <a:gd name="T9" fmla="*/ 129 h 3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200" h="391">
                <a:moveTo>
                  <a:pt x="0" y="129"/>
                </a:moveTo>
                <a:cubicBezTo>
                  <a:pt x="217" y="129"/>
                  <a:pt x="2396" y="272"/>
                  <a:pt x="3200" y="0"/>
                </a:cubicBezTo>
                <a:cubicBezTo>
                  <a:pt x="3200" y="391"/>
                  <a:pt x="3200" y="268"/>
                  <a:pt x="3200" y="268"/>
                </a:cubicBezTo>
                <a:cubicBezTo>
                  <a:pt x="0" y="264"/>
                  <a:pt x="0" y="264"/>
                  <a:pt x="0" y="264"/>
                </a:cubicBezTo>
                <a:lnTo>
                  <a:pt x="0" y="129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endParaRPr lang="ru-RU"/>
          </a:p>
        </p:txBody>
      </p:sp>
      <p:sp>
        <p:nvSpPr>
          <p:cNvPr id="37" name="iṥliḍè">
            <a:extLst>
              <a:ext uri="{FF2B5EF4-FFF2-40B4-BE49-F238E27FC236}">
                <a16:creationId xmlns="" xmlns:a16="http://schemas.microsoft.com/office/drawing/2014/main" id="{E56648C9-91F5-4477-8772-C42F98C9A5C6}"/>
              </a:ext>
            </a:extLst>
          </p:cNvPr>
          <p:cNvSpPr/>
          <p:nvPr userDrawn="1"/>
        </p:nvSpPr>
        <p:spPr bwMode="auto">
          <a:xfrm>
            <a:off x="4762" y="5876365"/>
            <a:ext cx="12187237" cy="987051"/>
          </a:xfrm>
          <a:custGeom>
            <a:avLst/>
            <a:gdLst>
              <a:gd name="T0" fmla="*/ 3200 w 3200"/>
              <a:gd name="T1" fmla="*/ 331 h 465"/>
              <a:gd name="T2" fmla="*/ 0 w 3200"/>
              <a:gd name="T3" fmla="*/ 0 h 465"/>
              <a:gd name="T4" fmla="*/ 0 w 3200"/>
              <a:gd name="T5" fmla="*/ 465 h 465"/>
              <a:gd name="T6" fmla="*/ 3200 w 3200"/>
              <a:gd name="T7" fmla="*/ 465 h 465"/>
              <a:gd name="T8" fmla="*/ 3200 w 3200"/>
              <a:gd name="T9" fmla="*/ 331 h 46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200" h="465">
                <a:moveTo>
                  <a:pt x="3200" y="331"/>
                </a:moveTo>
                <a:cubicBezTo>
                  <a:pt x="2983" y="331"/>
                  <a:pt x="804" y="273"/>
                  <a:pt x="0" y="0"/>
                </a:cubicBezTo>
                <a:cubicBezTo>
                  <a:pt x="0" y="392"/>
                  <a:pt x="0" y="465"/>
                  <a:pt x="0" y="465"/>
                </a:cubicBezTo>
                <a:cubicBezTo>
                  <a:pt x="3200" y="465"/>
                  <a:pt x="3200" y="465"/>
                  <a:pt x="3200" y="465"/>
                </a:cubicBezTo>
                <a:lnTo>
                  <a:pt x="3200" y="331"/>
                </a:lnTo>
                <a:close/>
              </a:path>
            </a:pathLst>
          </a:custGeom>
          <a:solidFill>
            <a:srgbClr val="1E437A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533342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="" xmlns:a16="http://schemas.microsoft.com/office/drawing/2014/main" id="{B8ECB82F-2036-47F8-967F-811316D65A0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4" name="内容占位符 3">
            <a:extLst>
              <a:ext uri="{FF2B5EF4-FFF2-40B4-BE49-F238E27FC236}">
                <a16:creationId xmlns="" xmlns:a16="http://schemas.microsoft.com/office/drawing/2014/main" id="{27E58D20-F6D3-402F-8CAE-45C93DE21A06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172199" y="1130300"/>
            <a:ext cx="5348287" cy="5006975"/>
          </a:xfrm>
        </p:spPr>
        <p:txBody>
          <a:bodyPr>
            <a:normAutofit/>
          </a:bodyPr>
          <a:lstStyle>
            <a:lvl1pPr>
              <a:defRPr lang="en-US" altLang="zh-CN" dirty="0"/>
            </a:lvl1pPr>
            <a:lvl2pPr>
              <a:defRPr lang="en-US" altLang="zh-CN" dirty="0"/>
            </a:lvl2pPr>
            <a:lvl3pPr>
              <a:defRPr lang="en-US" altLang="zh-CN" dirty="0"/>
            </a:lvl3pPr>
            <a:lvl4pPr>
              <a:defRPr lang="en-US" altLang="zh-CN" dirty="0"/>
            </a:lvl4pPr>
            <a:lvl5pPr>
              <a:defRPr lang="en-US" altLang="zh-CN" dirty="0"/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</a:p>
        </p:txBody>
      </p:sp>
      <p:sp>
        <p:nvSpPr>
          <p:cNvPr id="8" name="内容占位符 3">
            <a:extLst>
              <a:ext uri="{FF2B5EF4-FFF2-40B4-BE49-F238E27FC236}">
                <a16:creationId xmlns="" xmlns:a16="http://schemas.microsoft.com/office/drawing/2014/main" id="{10CDFBA3-1B3A-4680-B040-97746005F91F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669924" y="1130300"/>
            <a:ext cx="5348287" cy="5006975"/>
          </a:xfrm>
        </p:spPr>
        <p:txBody>
          <a:bodyPr>
            <a:normAutofit/>
          </a:bodyPr>
          <a:lstStyle>
            <a:lvl1pPr>
              <a:defRPr lang="en-US" altLang="zh-CN" dirty="0"/>
            </a:lvl1pPr>
            <a:lvl2pPr>
              <a:defRPr lang="en-US" altLang="zh-CN" dirty="0"/>
            </a:lvl2pPr>
            <a:lvl3pPr>
              <a:defRPr lang="en-US" altLang="zh-CN" dirty="0"/>
            </a:lvl3pPr>
            <a:lvl4pPr>
              <a:defRPr lang="en-US" altLang="zh-CN" dirty="0"/>
            </a:lvl4pPr>
            <a:lvl5pPr>
              <a:defRPr lang="en-US" altLang="zh-CN" dirty="0"/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</a:p>
        </p:txBody>
      </p:sp>
      <p:sp>
        <p:nvSpPr>
          <p:cNvPr id="3" name="日期占位符 2">
            <a:extLst>
              <a:ext uri="{FF2B5EF4-FFF2-40B4-BE49-F238E27FC236}">
                <a16:creationId xmlns="" xmlns:a16="http://schemas.microsoft.com/office/drawing/2014/main" id="{5738D1FF-F029-4867-90D4-B2A4A57D6EAB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pPr/>
              <a:t>2019/11/25</a:t>
            </a:fld>
            <a:endParaRPr lang="zh-CN" altLang="en-US" dirty="0"/>
          </a:p>
        </p:txBody>
      </p:sp>
      <p:sp>
        <p:nvSpPr>
          <p:cNvPr id="9" name="页脚占位符 8">
            <a:extLst>
              <a:ext uri="{FF2B5EF4-FFF2-40B4-BE49-F238E27FC236}">
                <a16:creationId xmlns="" xmlns:a16="http://schemas.microsoft.com/office/drawing/2014/main" id="{A4CE92EA-4D63-406A-8DB4-81454AA337B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altLang="zh-CN"/>
              <a:t>www.islide.cc </a:t>
            </a:r>
            <a:endParaRPr lang="zh-CN" altLang="en-US" dirty="0"/>
          </a:p>
        </p:txBody>
      </p:sp>
      <p:sp>
        <p:nvSpPr>
          <p:cNvPr id="10" name="灯片编号占位符 9">
            <a:extLst>
              <a:ext uri="{FF2B5EF4-FFF2-40B4-BE49-F238E27FC236}">
                <a16:creationId xmlns="" xmlns:a16="http://schemas.microsoft.com/office/drawing/2014/main" id="{69AB785F-69B1-42FD-A54D-980ECF6E7FD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52240849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占位符 2">
            <a:extLst>
              <a:ext uri="{FF2B5EF4-FFF2-40B4-BE49-F238E27FC236}">
                <a16:creationId xmlns="" xmlns:a16="http://schemas.microsoft.com/office/drawing/2014/main" id="{BDB13F9A-9790-4562-8B37-BBDCA0C1B0FA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65163" y="1135380"/>
            <a:ext cx="5326061" cy="448976"/>
          </a:xfrm>
        </p:spPr>
        <p:txBody>
          <a:bodyPr anchor="ctr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altLang="zh-CN" dirty="0"/>
              <a:t>Click to edit Master title style</a:t>
            </a:r>
          </a:p>
        </p:txBody>
      </p:sp>
      <p:sp>
        <p:nvSpPr>
          <p:cNvPr id="4" name="内容占位符 3">
            <a:extLst>
              <a:ext uri="{FF2B5EF4-FFF2-40B4-BE49-F238E27FC236}">
                <a16:creationId xmlns="" xmlns:a16="http://schemas.microsoft.com/office/drawing/2014/main" id="{8F939CE1-2565-4BD2-B765-0FDA979C4208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71514" y="1685956"/>
            <a:ext cx="5326061" cy="4503707"/>
          </a:xfrm>
        </p:spPr>
        <p:txBody>
          <a:bodyPr>
            <a:normAutofit/>
          </a:bodyPr>
          <a:lstStyle>
            <a:lvl1pPr>
              <a:defRPr lang="en-US" altLang="zh-CN" dirty="0"/>
            </a:lvl1pPr>
            <a:lvl2pPr>
              <a:defRPr lang="en-US" altLang="zh-CN" dirty="0"/>
            </a:lvl2pPr>
            <a:lvl3pPr>
              <a:defRPr lang="en-US" altLang="zh-CN" dirty="0"/>
            </a:lvl3pPr>
            <a:lvl4pPr>
              <a:defRPr lang="en-US" altLang="zh-CN" dirty="0"/>
            </a:lvl4pPr>
            <a:lvl5pPr>
              <a:defRPr lang="en-US" altLang="zh-CN" dirty="0"/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</a:p>
        </p:txBody>
      </p:sp>
      <p:sp>
        <p:nvSpPr>
          <p:cNvPr id="5" name="文本占位符 4">
            <a:extLst>
              <a:ext uri="{FF2B5EF4-FFF2-40B4-BE49-F238E27FC236}">
                <a16:creationId xmlns="" xmlns:a16="http://schemas.microsoft.com/office/drawing/2014/main" id="{37A8FE65-353E-44A9-975F-C67D0364E0EE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194426" y="1135380"/>
            <a:ext cx="5326061" cy="448976"/>
          </a:xfrm>
        </p:spPr>
        <p:txBody>
          <a:bodyPr anchor="ctr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altLang="zh-CN" dirty="0"/>
              <a:t>Edit Master text styles</a:t>
            </a:r>
          </a:p>
        </p:txBody>
      </p:sp>
      <p:sp>
        <p:nvSpPr>
          <p:cNvPr id="6" name="内容占位符 5">
            <a:extLst>
              <a:ext uri="{FF2B5EF4-FFF2-40B4-BE49-F238E27FC236}">
                <a16:creationId xmlns="" xmlns:a16="http://schemas.microsoft.com/office/drawing/2014/main" id="{3E1F490D-3FF4-40C5-B1DD-918F0138111B}"/>
              </a:ext>
            </a:extLst>
          </p:cNvPr>
          <p:cNvSpPr>
            <a:spLocks noGrp="1"/>
          </p:cNvSpPr>
          <p:nvPr>
            <p:ph sz="quarter" idx="4" hasCustomPrompt="1"/>
          </p:nvPr>
        </p:nvSpPr>
        <p:spPr>
          <a:xfrm>
            <a:off x="6172199" y="1685956"/>
            <a:ext cx="5348287" cy="4503707"/>
          </a:xfrm>
        </p:spPr>
        <p:txBody>
          <a:bodyPr>
            <a:normAutofit/>
          </a:bodyPr>
          <a:lstStyle>
            <a:lvl1pPr>
              <a:defRPr lang="en-US" altLang="zh-CN" dirty="0"/>
            </a:lvl1pPr>
            <a:lvl2pPr>
              <a:defRPr lang="en-US" altLang="zh-CN" dirty="0"/>
            </a:lvl2pPr>
            <a:lvl3pPr>
              <a:defRPr lang="en-US" altLang="zh-CN" dirty="0"/>
            </a:lvl3pPr>
            <a:lvl4pPr>
              <a:defRPr lang="en-US" altLang="zh-CN" dirty="0"/>
            </a:lvl4pPr>
            <a:lvl5pPr>
              <a:defRPr lang="en-US" altLang="zh-CN" dirty="0"/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</a:p>
        </p:txBody>
      </p:sp>
      <p:sp>
        <p:nvSpPr>
          <p:cNvPr id="10" name="标题 9">
            <a:extLst>
              <a:ext uri="{FF2B5EF4-FFF2-40B4-BE49-F238E27FC236}">
                <a16:creationId xmlns="" xmlns:a16="http://schemas.microsoft.com/office/drawing/2014/main" id="{B458B080-7577-4712-B3BC-597995F4A7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2" name="日期占位符 1">
            <a:extLst>
              <a:ext uri="{FF2B5EF4-FFF2-40B4-BE49-F238E27FC236}">
                <a16:creationId xmlns="" xmlns:a16="http://schemas.microsoft.com/office/drawing/2014/main" id="{4B650616-94FA-4F8C-B49C-5CD1BB08AE5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pPr/>
              <a:t>2019/11/25</a:t>
            </a:fld>
            <a:endParaRPr lang="zh-CN" altLang="en-US" dirty="0"/>
          </a:p>
        </p:txBody>
      </p:sp>
      <p:sp>
        <p:nvSpPr>
          <p:cNvPr id="11" name="页脚占位符 10">
            <a:extLst>
              <a:ext uri="{FF2B5EF4-FFF2-40B4-BE49-F238E27FC236}">
                <a16:creationId xmlns="" xmlns:a16="http://schemas.microsoft.com/office/drawing/2014/main" id="{E9664480-D645-43BD-896D-DC0BDBEEA9A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 </a:t>
            </a:r>
            <a:endParaRPr lang="zh-CN" altLang="en-US" dirty="0"/>
          </a:p>
        </p:txBody>
      </p:sp>
      <p:sp>
        <p:nvSpPr>
          <p:cNvPr id="12" name="灯片编号占位符 11">
            <a:extLst>
              <a:ext uri="{FF2B5EF4-FFF2-40B4-BE49-F238E27FC236}">
                <a16:creationId xmlns="" xmlns:a16="http://schemas.microsoft.com/office/drawing/2014/main" id="{846A2231-11F9-489B-9492-E00E5114D4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32162224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F21C7A1C-3684-4AAF-A408-C63B6CB641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="" xmlns:a16="http://schemas.microsoft.com/office/drawing/2014/main" id="{8986EA5F-D77D-4318-90E9-C04AA8ADC0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pPr/>
              <a:t>2019/11/25</a:t>
            </a:fld>
            <a:endParaRPr lang="zh-CN" alt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="" xmlns:a16="http://schemas.microsoft.com/office/drawing/2014/main" id="{00832621-D9D9-445E-BFF9-F8348FA1E2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="" xmlns:a16="http://schemas.microsoft.com/office/drawing/2014/main" id="{8371151B-F790-4A9F-962F-B8718A9560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8417621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1772862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图片占位符 2">
            <a:extLst>
              <a:ext uri="{FF2B5EF4-FFF2-40B4-BE49-F238E27FC236}">
                <a16:creationId xmlns="" xmlns:a16="http://schemas.microsoft.com/office/drawing/2014/main" id="{82A0A934-5CD6-45C4-85B8-F0193DB32107}"/>
              </a:ext>
            </a:extLst>
          </p:cNvPr>
          <p:cNvSpPr>
            <a:spLocks noGrp="1"/>
          </p:cNvSpPr>
          <p:nvPr>
            <p:ph type="pic" idx="1" hasCustomPrompt="1"/>
          </p:nvPr>
        </p:nvSpPr>
        <p:spPr>
          <a:xfrm>
            <a:off x="5183188" y="1130299"/>
            <a:ext cx="6337300" cy="5006975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altLang="zh-CN" dirty="0"/>
              <a:t>Picture</a:t>
            </a:r>
            <a:endParaRPr lang="zh-CN" altLang="en-US" dirty="0"/>
          </a:p>
        </p:txBody>
      </p:sp>
      <p:sp>
        <p:nvSpPr>
          <p:cNvPr id="4" name="文本占位符 3">
            <a:extLst>
              <a:ext uri="{FF2B5EF4-FFF2-40B4-BE49-F238E27FC236}">
                <a16:creationId xmlns="" xmlns:a16="http://schemas.microsoft.com/office/drawing/2014/main" id="{193FB480-9825-4C58-BCE4-FA8E8034DF6A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669924" y="1138237"/>
            <a:ext cx="4282322" cy="4999037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altLang="zh-CN" dirty="0"/>
              <a:t>Edit Master text styles</a:t>
            </a:r>
          </a:p>
        </p:txBody>
      </p:sp>
      <p:sp>
        <p:nvSpPr>
          <p:cNvPr id="8" name="标题 7">
            <a:extLst>
              <a:ext uri="{FF2B5EF4-FFF2-40B4-BE49-F238E27FC236}">
                <a16:creationId xmlns="" xmlns:a16="http://schemas.microsoft.com/office/drawing/2014/main" id="{F4537028-F61E-47F3-9D71-30474CF14BD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2" name="日期占位符 1">
            <a:extLst>
              <a:ext uri="{FF2B5EF4-FFF2-40B4-BE49-F238E27FC236}">
                <a16:creationId xmlns="" xmlns:a16="http://schemas.microsoft.com/office/drawing/2014/main" id="{950FDA25-DB83-46C5-AF0D-EDF629B2950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pPr/>
              <a:t>2019/11/25</a:t>
            </a:fld>
            <a:endParaRPr lang="zh-CN" altLang="en-US" dirty="0"/>
          </a:p>
        </p:txBody>
      </p:sp>
      <p:sp>
        <p:nvSpPr>
          <p:cNvPr id="9" name="页脚占位符 8">
            <a:extLst>
              <a:ext uri="{FF2B5EF4-FFF2-40B4-BE49-F238E27FC236}">
                <a16:creationId xmlns="" xmlns:a16="http://schemas.microsoft.com/office/drawing/2014/main" id="{2C754D97-8B61-4E79-A1E5-35140A9C49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 </a:t>
            </a:r>
            <a:endParaRPr lang="zh-CN" altLang="en-US" dirty="0"/>
          </a:p>
        </p:txBody>
      </p:sp>
      <p:sp>
        <p:nvSpPr>
          <p:cNvPr id="10" name="灯片编号占位符 9">
            <a:extLst>
              <a:ext uri="{FF2B5EF4-FFF2-40B4-BE49-F238E27FC236}">
                <a16:creationId xmlns="" xmlns:a16="http://schemas.microsoft.com/office/drawing/2014/main" id="{B1872646-73C0-4ECC-98AD-5144CCA404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30713046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竖排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>
            <a:extLst>
              <a:ext uri="{FF2B5EF4-FFF2-40B4-BE49-F238E27FC236}">
                <a16:creationId xmlns="" xmlns:a16="http://schemas.microsoft.com/office/drawing/2014/main" id="{F6A26850-400B-4B40-A941-1801CDFB6B60}"/>
              </a:ext>
            </a:extLst>
          </p:cNvPr>
          <p:cNvSpPr>
            <a:spLocks noGrp="1"/>
          </p:cNvSpPr>
          <p:nvPr>
            <p:ph type="title" orient="vert" hasCustomPrompt="1"/>
          </p:nvPr>
        </p:nvSpPr>
        <p:spPr>
          <a:xfrm>
            <a:off x="8610599" y="1130300"/>
            <a:ext cx="2909888" cy="5006974"/>
          </a:xfrm>
        </p:spPr>
        <p:txBody>
          <a:bodyPr vert="eaVert">
            <a:normAutofit/>
          </a:bodyPr>
          <a:lstStyle>
            <a:lvl1pPr>
              <a:defRPr sz="2000"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竖排文字占位符 2">
            <a:extLst>
              <a:ext uri="{FF2B5EF4-FFF2-40B4-BE49-F238E27FC236}">
                <a16:creationId xmlns="" xmlns:a16="http://schemas.microsoft.com/office/drawing/2014/main" id="{C4CE9257-C5F8-43EE-8C8C-4FD143283D49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69925" y="1130300"/>
            <a:ext cx="7795065" cy="5006973"/>
          </a:xfrm>
        </p:spPr>
        <p:txBody>
          <a:bodyPr vert="eaVert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Click to 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  <p:sp>
        <p:nvSpPr>
          <p:cNvPr id="8" name="日期占位符 7">
            <a:extLst>
              <a:ext uri="{FF2B5EF4-FFF2-40B4-BE49-F238E27FC236}">
                <a16:creationId xmlns="" xmlns:a16="http://schemas.microsoft.com/office/drawing/2014/main" id="{D225C0EF-3B42-4E42-877B-BB95B98762D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pPr/>
              <a:t>2019/11/25</a:t>
            </a:fld>
            <a:endParaRPr lang="zh-CN" altLang="en-US" dirty="0"/>
          </a:p>
        </p:txBody>
      </p:sp>
      <p:sp>
        <p:nvSpPr>
          <p:cNvPr id="9" name="页脚占位符 8">
            <a:extLst>
              <a:ext uri="{FF2B5EF4-FFF2-40B4-BE49-F238E27FC236}">
                <a16:creationId xmlns="" xmlns:a16="http://schemas.microsoft.com/office/drawing/2014/main" id="{B1EF878A-978C-4FF5-98E8-4EA308DFFC1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 </a:t>
            </a:r>
            <a:endParaRPr lang="zh-CN" altLang="en-US" dirty="0"/>
          </a:p>
        </p:txBody>
      </p:sp>
      <p:sp>
        <p:nvSpPr>
          <p:cNvPr id="10" name="灯片编号占位符 9">
            <a:extLst>
              <a:ext uri="{FF2B5EF4-FFF2-40B4-BE49-F238E27FC236}">
                <a16:creationId xmlns="" xmlns:a16="http://schemas.microsoft.com/office/drawing/2014/main" id="{71CBB6EA-5004-4A02-8AF9-9CE561A40B6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60074958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sp>
        <p:nvSpPr>
          <p:cNvPr id="8" name="日期占位符 3">
            <a:extLst>
              <a:ext uri="{FF2B5EF4-FFF2-40B4-BE49-F238E27FC236}">
                <a16:creationId xmlns="" xmlns:a16="http://schemas.microsoft.com/office/drawing/2014/main" id="{04388434-9949-479C-A9C3-67A953F6A93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489D9C7-5DC6-4263-87FF-7C99F6FB63C3}" type="datetime1">
              <a:rPr lang="zh-CN" altLang="en-US" smtClean="0"/>
              <a:pPr/>
              <a:t>2019/11/25</a:t>
            </a:fld>
            <a:endParaRPr lang="zh-CN" altLang="en-US"/>
          </a:p>
        </p:txBody>
      </p:sp>
      <p:sp>
        <p:nvSpPr>
          <p:cNvPr id="9" name="页脚占位符 4">
            <a:extLst>
              <a:ext uri="{FF2B5EF4-FFF2-40B4-BE49-F238E27FC236}">
                <a16:creationId xmlns="" xmlns:a16="http://schemas.microsoft.com/office/drawing/2014/main" id="{50A5656E-7A33-4865-A262-1F96263BAA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altLang="zh-CN" dirty="0"/>
              <a:t>www.islide.cc</a:t>
            </a:r>
            <a:endParaRPr lang="zh-CN" altLang="en-US" dirty="0"/>
          </a:p>
        </p:txBody>
      </p:sp>
      <p:sp>
        <p:nvSpPr>
          <p:cNvPr id="10" name="灯片编号占位符 5">
            <a:extLst>
              <a:ext uri="{FF2B5EF4-FFF2-40B4-BE49-F238E27FC236}">
                <a16:creationId xmlns="" xmlns:a16="http://schemas.microsoft.com/office/drawing/2014/main" id="{5BF52F79-380E-4278-8B67-588AFE5840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840277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69" r:id="rId2"/>
    <p:sldLayoutId id="2147483651" r:id="rId3"/>
    <p:sldLayoutId id="2147483664" r:id="rId4"/>
    <p:sldLayoutId id="2147483665" r:id="rId5"/>
    <p:sldLayoutId id="2147483662" r:id="rId6"/>
    <p:sldLayoutId id="2147483655" r:id="rId7"/>
    <p:sldLayoutId id="2147483666" r:id="rId8"/>
    <p:sldLayoutId id="2147483667" r:id="rId9"/>
    <p:sldLayoutId id="2147483668" r:id="rId10"/>
    <p:sldLayoutId id="2147483661" r:id="rId11"/>
  </p:sldLayoutIdLst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hf hdr="0" dt="0"/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22" userDrawn="1">
          <p15:clr>
            <a:srgbClr val="F26B43"/>
          </p15:clr>
        </p15:guide>
        <p15:guide id="2" pos="7257" userDrawn="1">
          <p15:clr>
            <a:srgbClr val="F26B43"/>
          </p15:clr>
        </p15:guide>
        <p15:guide id="3" orient="horz" pos="648" userDrawn="1">
          <p15:clr>
            <a:srgbClr val="F26B43"/>
          </p15:clr>
        </p15:guide>
        <p15:guide id="4" orient="horz" pos="712" userDrawn="1">
          <p15:clr>
            <a:srgbClr val="F26B43"/>
          </p15:clr>
        </p15:guide>
        <p15:guide id="5" orient="horz" pos="3931" userDrawn="1">
          <p15:clr>
            <a:srgbClr val="F26B43"/>
          </p15:clr>
        </p15:guide>
        <p15:guide id="6" orient="horz" pos="386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tags" Target="../tags/tag2.xml"/><Relationship Id="rId7" Type="http://schemas.openxmlformats.org/officeDocument/2006/relationships/oleObject" Target="../embeddings/oleObject1.bin"/><Relationship Id="rId2" Type="http://schemas.openxmlformats.org/officeDocument/2006/relationships/vmlDrawing" Target="../drawings/vmlDrawing1.vml"/><Relationship Id="rId1" Type="http://schemas.openxmlformats.org/officeDocument/2006/relationships/themeOverride" Target="../theme/themeOverride1.xml"/><Relationship Id="rId6" Type="http://schemas.openxmlformats.org/officeDocument/2006/relationships/notesSlide" Target="../notesSlides/notesSlide1.xml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3.xml"/><Relationship Id="rId9" Type="http://schemas.openxmlformats.org/officeDocument/2006/relationships/image" Target="../media/image5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7.xml"/><Relationship Id="rId1" Type="http://schemas.openxmlformats.org/officeDocument/2006/relationships/themeOverride" Target="../theme/themeOverride2.xml"/><Relationship Id="rId5" Type="http://schemas.openxmlformats.org/officeDocument/2006/relationships/image" Target="../media/image7.png"/><Relationship Id="rId4" Type="http://schemas.openxmlformats.org/officeDocument/2006/relationships/image" Target="../media/image6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3.xml"/><Relationship Id="rId1" Type="http://schemas.openxmlformats.org/officeDocument/2006/relationships/themeOverride" Target="../theme/themeOverride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5.xml"/><Relationship Id="rId7" Type="http://schemas.openxmlformats.org/officeDocument/2006/relationships/image" Target="../media/image4.emf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="" xmlns:a16="http://schemas.microsoft.com/office/drawing/2014/main" id="{3C326D0B-7DAB-41B6-8030-2E4A18CC949B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5840861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52"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="" xmlns:a16="http://schemas.microsoft.com/office/drawing/2014/main" id="{EC933494-1B63-4A32-964F-D05236799BAA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10" name="文本占位符 6">
            <a:extLst>
              <a:ext uri="{FF2B5EF4-FFF2-40B4-BE49-F238E27FC236}">
                <a16:creationId xmlns="" xmlns:a16="http://schemas.microsoft.com/office/drawing/2014/main" id="{860E080A-905E-49CC-BEDE-33BC64BB0471}"/>
              </a:ext>
            </a:extLst>
          </p:cNvPr>
          <p:cNvSpPr txBox="1">
            <a:spLocks/>
          </p:cNvSpPr>
          <p:nvPr/>
        </p:nvSpPr>
        <p:spPr>
          <a:xfrm>
            <a:off x="1898975" y="1736171"/>
            <a:ext cx="8505372" cy="753117"/>
          </a:xfrm>
          <a:prstGeom prst="rect">
            <a:avLst/>
          </a:prstGeom>
        </p:spPr>
        <p:txBody>
          <a:bodyPr/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zh-CN" altLang="en-US" sz="4800" b="1" dirty="0" smtClean="0">
                <a:solidFill>
                  <a:srgbClr val="1E437A"/>
                </a:solidFill>
              </a:rPr>
              <a:t>西南交通大学演示模板</a:t>
            </a:r>
            <a:endParaRPr lang="zh-CN" altLang="en-US" sz="4800" b="1" dirty="0">
              <a:solidFill>
                <a:srgbClr val="1E437A"/>
              </a:solidFill>
            </a:endParaRPr>
          </a:p>
        </p:txBody>
      </p:sp>
      <p:sp>
        <p:nvSpPr>
          <p:cNvPr id="11" name="文本占位符 7">
            <a:extLst>
              <a:ext uri="{FF2B5EF4-FFF2-40B4-BE49-F238E27FC236}">
                <a16:creationId xmlns="" xmlns:a16="http://schemas.microsoft.com/office/drawing/2014/main" id="{0E9BE6D4-4511-47DB-8FEA-1025068A33B0}"/>
              </a:ext>
            </a:extLst>
          </p:cNvPr>
          <p:cNvSpPr txBox="1">
            <a:spLocks/>
          </p:cNvSpPr>
          <p:nvPr/>
        </p:nvSpPr>
        <p:spPr>
          <a:xfrm>
            <a:off x="1898975" y="2589082"/>
            <a:ext cx="8505372" cy="421241"/>
          </a:xfrm>
          <a:prstGeom prst="rect">
            <a:avLst/>
          </a:prstGeom>
        </p:spPr>
        <p:txBody>
          <a:bodyPr/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altLang="zh-CN" sz="2000" dirty="0" smtClean="0">
                <a:solidFill>
                  <a:schemeClr val="bg1">
                    <a:lumMod val="50000"/>
                  </a:schemeClr>
                </a:solidFill>
              </a:rPr>
              <a:t>SOUTHWEST  JIAOTONG  UNIVERSITY</a:t>
            </a:r>
            <a:endParaRPr lang="en-US" altLang="zh-CN" sz="20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2" name="文本占位符 5">
            <a:extLst>
              <a:ext uri="{FF2B5EF4-FFF2-40B4-BE49-F238E27FC236}">
                <a16:creationId xmlns="" xmlns:a16="http://schemas.microsoft.com/office/drawing/2014/main" id="{A4DCDCE4-CC27-4A6F-8F80-D5A38BA28EB4}"/>
              </a:ext>
            </a:extLst>
          </p:cNvPr>
          <p:cNvSpPr txBox="1">
            <a:spLocks/>
          </p:cNvSpPr>
          <p:nvPr/>
        </p:nvSpPr>
        <p:spPr>
          <a:xfrm>
            <a:off x="6343769" y="3229026"/>
            <a:ext cx="1977154" cy="444660"/>
          </a:xfrm>
          <a:prstGeom prst="roundRect">
            <a:avLst>
              <a:gd name="adj" fmla="val 50000"/>
            </a:avLst>
          </a:prstGeom>
          <a:gradFill>
            <a:gsLst>
              <a:gs pos="0">
                <a:schemeClr val="accent4"/>
              </a:gs>
              <a:gs pos="100000">
                <a:schemeClr val="accent2"/>
              </a:gs>
            </a:gsLst>
            <a:lin ang="0" scaled="0"/>
          </a:gradFill>
        </p:spPr>
        <p:txBody>
          <a:bodyPr/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zh-CN" altLang="en-US" smtClean="0">
                <a:solidFill>
                  <a:schemeClr val="bg1"/>
                </a:solidFill>
              </a:rPr>
              <a:t>时间：</a:t>
            </a:r>
            <a:r>
              <a:rPr lang="en-US" altLang="zh-CN" smtClean="0">
                <a:solidFill>
                  <a:schemeClr val="bg1"/>
                </a:solidFill>
              </a:rPr>
              <a:t>XXX</a:t>
            </a:r>
            <a:endParaRPr lang="zh-CN" altLang="en-US" dirty="0">
              <a:solidFill>
                <a:schemeClr val="bg1"/>
              </a:solidFill>
            </a:endParaRPr>
          </a:p>
        </p:txBody>
      </p:sp>
      <p:sp>
        <p:nvSpPr>
          <p:cNvPr id="13" name="文本占位符 8">
            <a:extLst>
              <a:ext uri="{FF2B5EF4-FFF2-40B4-BE49-F238E27FC236}">
                <a16:creationId xmlns="" xmlns:a16="http://schemas.microsoft.com/office/drawing/2014/main" id="{4C49759C-7CAD-4972-A0E1-AD0D86FDC083}"/>
              </a:ext>
            </a:extLst>
          </p:cNvPr>
          <p:cNvSpPr txBox="1">
            <a:spLocks/>
          </p:cNvSpPr>
          <p:nvPr/>
        </p:nvSpPr>
        <p:spPr>
          <a:xfrm>
            <a:off x="4095893" y="3229026"/>
            <a:ext cx="1977154" cy="444660"/>
          </a:xfrm>
          <a:prstGeom prst="roundRect">
            <a:avLst>
              <a:gd name="adj" fmla="val 50000"/>
            </a:avLst>
          </a:prstGeom>
          <a:gradFill>
            <a:gsLst>
              <a:gs pos="0">
                <a:schemeClr val="accent4"/>
              </a:gs>
              <a:gs pos="100000">
                <a:schemeClr val="accent2"/>
              </a:gs>
            </a:gsLst>
            <a:lin ang="0" scaled="0"/>
          </a:gradFill>
        </p:spPr>
        <p:txBody>
          <a:bodyPr/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zh-CN" altLang="en-US" dirty="0" smtClean="0">
                <a:solidFill>
                  <a:schemeClr val="bg1"/>
                </a:solidFill>
              </a:rPr>
              <a:t>汇报人：</a:t>
            </a:r>
            <a:r>
              <a:rPr lang="en-US" altLang="zh-CN" dirty="0" smtClean="0">
                <a:solidFill>
                  <a:schemeClr val="bg1"/>
                </a:solidFill>
              </a:rPr>
              <a:t>XXX</a:t>
            </a:r>
            <a:endParaRPr lang="zh-CN" altLang="en-US" dirty="0">
              <a:solidFill>
                <a:schemeClr val="bg1"/>
              </a:solidFill>
            </a:endParaRPr>
          </a:p>
        </p:txBody>
      </p:sp>
      <p:pic>
        <p:nvPicPr>
          <p:cNvPr id="14" name="图片 13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34335" y="594193"/>
            <a:ext cx="2434654" cy="6863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004566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716" r="16814" b="7602"/>
          <a:stretch/>
        </p:blipFill>
        <p:spPr>
          <a:xfrm>
            <a:off x="6768587" y="1416376"/>
            <a:ext cx="4534054" cy="4505495"/>
          </a:xfrm>
          <a:prstGeom prst="rect">
            <a:avLst/>
          </a:prstGeom>
        </p:spPr>
      </p:pic>
      <p:sp>
        <p:nvSpPr>
          <p:cNvPr id="16" name="任意多边形: 形状 70">
            <a:extLst>
              <a:ext uri="{FF2B5EF4-FFF2-40B4-BE49-F238E27FC236}">
                <a16:creationId xmlns:a16="http://schemas.microsoft.com/office/drawing/2014/main" xmlns="" id="{3CBEAD50-357B-4888-89E7-31F51184C89D}"/>
              </a:ext>
            </a:extLst>
          </p:cNvPr>
          <p:cNvSpPr/>
          <p:nvPr/>
        </p:nvSpPr>
        <p:spPr>
          <a:xfrm>
            <a:off x="8639428" y="967415"/>
            <a:ext cx="2883927" cy="987973"/>
          </a:xfrm>
          <a:custGeom>
            <a:avLst/>
            <a:gdLst>
              <a:gd name="connsiteX0" fmla="*/ 87352 w 2883927"/>
              <a:gd name="connsiteY0" fmla="*/ 758835 h 987973"/>
              <a:gd name="connsiteX1" fmla="*/ 27309 w 2883927"/>
              <a:gd name="connsiteY1" fmla="*/ 869043 h 987973"/>
              <a:gd name="connsiteX2" fmla="*/ 225278 w 2883927"/>
              <a:gd name="connsiteY2" fmla="*/ 908874 h 987973"/>
              <a:gd name="connsiteX3" fmla="*/ 0 w 2883927"/>
              <a:gd name="connsiteY3" fmla="*/ 0 h 987973"/>
              <a:gd name="connsiteX4" fmla="*/ 2883927 w 2883927"/>
              <a:gd name="connsiteY4" fmla="*/ 0 h 987973"/>
              <a:gd name="connsiteX5" fmla="*/ 2883927 w 2883927"/>
              <a:gd name="connsiteY5" fmla="*/ 987973 h 987973"/>
              <a:gd name="connsiteX6" fmla="*/ 367180 w 2883927"/>
              <a:gd name="connsiteY6" fmla="*/ 987973 h 987973"/>
              <a:gd name="connsiteX7" fmla="*/ 377728 w 2883927"/>
              <a:gd name="connsiteY7" fmla="*/ 935599 h 987973"/>
              <a:gd name="connsiteX8" fmla="*/ 274668 w 2883927"/>
              <a:gd name="connsiteY8" fmla="*/ 987973 h 987973"/>
              <a:gd name="connsiteX9" fmla="*/ 0 w 2883927"/>
              <a:gd name="connsiteY9" fmla="*/ 987973 h 987973"/>
              <a:gd name="connsiteX10" fmla="*/ 0 w 2883927"/>
              <a:gd name="connsiteY10" fmla="*/ 626540 h 987973"/>
              <a:gd name="connsiteX11" fmla="*/ 102928 w 2883927"/>
              <a:gd name="connsiteY11" fmla="*/ 665208 h 987973"/>
              <a:gd name="connsiteX12" fmla="*/ 71416 w 2883927"/>
              <a:gd name="connsiteY12" fmla="*/ 477369 h 987973"/>
              <a:gd name="connsiteX13" fmla="*/ 0 w 2883927"/>
              <a:gd name="connsiteY13" fmla="*/ 535813 h 9879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2883927" h="987973">
                <a:moveTo>
                  <a:pt x="87352" y="758835"/>
                </a:moveTo>
                <a:lnTo>
                  <a:pt x="27309" y="869043"/>
                </a:lnTo>
                <a:lnTo>
                  <a:pt x="225278" y="908874"/>
                </a:lnTo>
                <a:close/>
                <a:moveTo>
                  <a:pt x="0" y="0"/>
                </a:moveTo>
                <a:lnTo>
                  <a:pt x="2883927" y="0"/>
                </a:lnTo>
                <a:lnTo>
                  <a:pt x="2883927" y="987973"/>
                </a:lnTo>
                <a:lnTo>
                  <a:pt x="367180" y="987973"/>
                </a:lnTo>
                <a:lnTo>
                  <a:pt x="377728" y="935599"/>
                </a:lnTo>
                <a:lnTo>
                  <a:pt x="274668" y="987973"/>
                </a:lnTo>
                <a:lnTo>
                  <a:pt x="0" y="987973"/>
                </a:lnTo>
                <a:lnTo>
                  <a:pt x="0" y="626540"/>
                </a:lnTo>
                <a:lnTo>
                  <a:pt x="102928" y="665208"/>
                </a:lnTo>
                <a:lnTo>
                  <a:pt x="71416" y="477369"/>
                </a:lnTo>
                <a:lnTo>
                  <a:pt x="0" y="535813"/>
                </a:lnTo>
                <a:close/>
              </a:path>
            </a:pathLst>
          </a:custGeom>
          <a:gradFill>
            <a:gsLst>
              <a:gs pos="0">
                <a:schemeClr val="accent4"/>
              </a:gs>
              <a:gs pos="100000">
                <a:schemeClr val="accent2"/>
              </a:gs>
            </a:gsLst>
            <a:lin ang="0" scaled="0"/>
          </a:gradFill>
          <a:ln>
            <a:noFill/>
          </a:ln>
          <a:effectLst>
            <a:outerShdw blurRad="165100" dist="114300" dir="2700000" algn="tl" rotWithShape="0">
              <a:schemeClr val="tx1">
                <a:alpha val="31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bg1">
                  <a:lumMod val="50000"/>
                </a:schemeClr>
              </a:solidFill>
            </a:endParaRPr>
          </a:p>
        </p:txBody>
      </p:sp>
      <p:grpSp>
        <p:nvGrpSpPr>
          <p:cNvPr id="21" name="组合 20">
            <a:extLst>
              <a:ext uri="{FF2B5EF4-FFF2-40B4-BE49-F238E27FC236}">
                <a16:creationId xmlns:a16="http://schemas.microsoft.com/office/drawing/2014/main" xmlns="" id="{E7AE89BA-664E-45DA-BE33-7FE2E7F7F1E5}"/>
              </a:ext>
            </a:extLst>
          </p:cNvPr>
          <p:cNvGrpSpPr/>
          <p:nvPr/>
        </p:nvGrpSpPr>
        <p:grpSpPr>
          <a:xfrm>
            <a:off x="1529998" y="1530276"/>
            <a:ext cx="3879563" cy="461665"/>
            <a:chOff x="9811523" y="1521362"/>
            <a:chExt cx="3879563" cy="461665"/>
          </a:xfrm>
        </p:grpSpPr>
        <p:sp>
          <p:nvSpPr>
            <p:cNvPr id="28" name="文本框 27">
              <a:extLst>
                <a:ext uri="{FF2B5EF4-FFF2-40B4-BE49-F238E27FC236}">
                  <a16:creationId xmlns:a16="http://schemas.microsoft.com/office/drawing/2014/main" xmlns="" id="{783C1AFD-8D67-41E7-9E6A-141EB0CFB885}"/>
                </a:ext>
              </a:extLst>
            </p:cNvPr>
            <p:cNvSpPr txBox="1"/>
            <p:nvPr/>
          </p:nvSpPr>
          <p:spPr>
            <a:xfrm>
              <a:off x="9811523" y="1521362"/>
              <a:ext cx="1158394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2400" dirty="0">
                  <a:solidFill>
                    <a:srgbClr val="1E437A"/>
                  </a:solidFill>
                  <a:latin typeface="Yu Gothic UI Semibold" panose="020B0700000000000000" pitchFamily="34" charset="-128"/>
                  <a:ea typeface="Yu Gothic UI Semibold" panose="020B0700000000000000" pitchFamily="34" charset="-128"/>
                </a:rPr>
                <a:t>PART</a:t>
              </a:r>
              <a:r>
                <a:rPr lang="en-US" altLang="zh-CN" sz="2400" dirty="0">
                  <a:latin typeface="Yu Gothic UI Semibold" panose="020B0700000000000000" pitchFamily="34" charset="-128"/>
                  <a:ea typeface="Yu Gothic UI Semibold" panose="020B0700000000000000" pitchFamily="34" charset="-128"/>
                </a:rPr>
                <a:t> 01</a:t>
              </a:r>
              <a:endParaRPr lang="zh-CN" altLang="en-US" sz="2400" dirty="0">
                <a:latin typeface="Yu Gothic UI Semibold" panose="020B0700000000000000" pitchFamily="34" charset="-128"/>
                <a:ea typeface="Yu Gothic UI Semibold" panose="020B0700000000000000" pitchFamily="34" charset="-128"/>
              </a:endParaRPr>
            </a:p>
          </p:txBody>
        </p:sp>
        <p:sp>
          <p:nvSpPr>
            <p:cNvPr id="29" name="文本框 28">
              <a:extLst>
                <a:ext uri="{FF2B5EF4-FFF2-40B4-BE49-F238E27FC236}">
                  <a16:creationId xmlns:a16="http://schemas.microsoft.com/office/drawing/2014/main" xmlns="" id="{2863AAA7-1A46-4D5D-894B-445547272BA5}"/>
                </a:ext>
              </a:extLst>
            </p:cNvPr>
            <p:cNvSpPr txBox="1"/>
            <p:nvPr/>
          </p:nvSpPr>
          <p:spPr>
            <a:xfrm>
              <a:off x="11172448" y="1521362"/>
              <a:ext cx="2518638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zh-CN" altLang="en-US" sz="2400" spc="2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请输入您的标题</a:t>
              </a:r>
              <a:endParaRPr lang="zh-CN" altLang="en-US" sz="2400" spc="2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30" name="文本框 29">
            <a:extLst>
              <a:ext uri="{FF2B5EF4-FFF2-40B4-BE49-F238E27FC236}">
                <a16:creationId xmlns:a16="http://schemas.microsoft.com/office/drawing/2014/main" xmlns="" id="{F80991EB-1A57-4744-8D36-5B2A36B720E6}"/>
              </a:ext>
            </a:extLst>
          </p:cNvPr>
          <p:cNvSpPr txBox="1"/>
          <p:nvPr/>
        </p:nvSpPr>
        <p:spPr>
          <a:xfrm>
            <a:off x="1529998" y="1951768"/>
            <a:ext cx="308328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>
                <a:solidFill>
                  <a:schemeClr val="bg1">
                    <a:lumMod val="65000"/>
                  </a:schemeClr>
                </a:solidFill>
              </a:rPr>
              <a:t>Please Enter Your Title Here</a:t>
            </a:r>
            <a:endParaRPr lang="zh-CN" altLang="en-US" dirty="0">
              <a:solidFill>
                <a:schemeClr val="bg1">
                  <a:lumMod val="65000"/>
                </a:schemeClr>
              </a:solidFill>
            </a:endParaRPr>
          </a:p>
        </p:txBody>
      </p:sp>
      <p:grpSp>
        <p:nvGrpSpPr>
          <p:cNvPr id="31" name="组合 30">
            <a:extLst>
              <a:ext uri="{FF2B5EF4-FFF2-40B4-BE49-F238E27FC236}">
                <a16:creationId xmlns:a16="http://schemas.microsoft.com/office/drawing/2014/main" xmlns="" id="{CDB4C628-D6A6-4636-A72B-35F7AB287A13}"/>
              </a:ext>
            </a:extLst>
          </p:cNvPr>
          <p:cNvGrpSpPr/>
          <p:nvPr/>
        </p:nvGrpSpPr>
        <p:grpSpPr>
          <a:xfrm>
            <a:off x="1529998" y="2730533"/>
            <a:ext cx="3879563" cy="461665"/>
            <a:chOff x="7265378" y="2802301"/>
            <a:chExt cx="3879563" cy="461665"/>
          </a:xfrm>
        </p:grpSpPr>
        <p:sp>
          <p:nvSpPr>
            <p:cNvPr id="32" name="文本框 31">
              <a:extLst>
                <a:ext uri="{FF2B5EF4-FFF2-40B4-BE49-F238E27FC236}">
                  <a16:creationId xmlns:a16="http://schemas.microsoft.com/office/drawing/2014/main" xmlns="" id="{4CB0A5DF-5336-44F6-B8FA-EC79E1E42DCB}"/>
                </a:ext>
              </a:extLst>
            </p:cNvPr>
            <p:cNvSpPr txBox="1"/>
            <p:nvPr/>
          </p:nvSpPr>
          <p:spPr>
            <a:xfrm>
              <a:off x="7265378" y="2802301"/>
              <a:ext cx="1158394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2400" dirty="0">
                  <a:solidFill>
                    <a:srgbClr val="1E437A"/>
                  </a:solidFill>
                  <a:latin typeface="Yu Gothic UI Semibold" panose="020B0700000000000000" pitchFamily="34" charset="-128"/>
                  <a:ea typeface="Yu Gothic UI Semibold" panose="020B0700000000000000" pitchFamily="34" charset="-128"/>
                </a:rPr>
                <a:t>PART</a:t>
              </a:r>
              <a:r>
                <a:rPr lang="en-US" altLang="zh-CN" sz="2400" dirty="0">
                  <a:latin typeface="Yu Gothic UI Semibold" panose="020B0700000000000000" pitchFamily="34" charset="-128"/>
                  <a:ea typeface="Yu Gothic UI Semibold" panose="020B0700000000000000" pitchFamily="34" charset="-128"/>
                </a:rPr>
                <a:t> 02</a:t>
              </a:r>
              <a:endParaRPr lang="zh-CN" altLang="en-US" sz="2400" dirty="0">
                <a:latin typeface="Yu Gothic UI Semibold" panose="020B0700000000000000" pitchFamily="34" charset="-128"/>
                <a:ea typeface="Yu Gothic UI Semibold" panose="020B0700000000000000" pitchFamily="34" charset="-128"/>
              </a:endParaRPr>
            </a:p>
          </p:txBody>
        </p:sp>
        <p:sp>
          <p:nvSpPr>
            <p:cNvPr id="33" name="文本框 32">
              <a:extLst>
                <a:ext uri="{FF2B5EF4-FFF2-40B4-BE49-F238E27FC236}">
                  <a16:creationId xmlns:a16="http://schemas.microsoft.com/office/drawing/2014/main" xmlns="" id="{531E07B6-A51A-4379-ABA4-B87F781CF98F}"/>
                </a:ext>
              </a:extLst>
            </p:cNvPr>
            <p:cNvSpPr txBox="1"/>
            <p:nvPr/>
          </p:nvSpPr>
          <p:spPr>
            <a:xfrm>
              <a:off x="8626303" y="2802301"/>
              <a:ext cx="2518638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zh-CN" altLang="en-US" sz="2400" spc="2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请输入您的标题</a:t>
              </a:r>
            </a:p>
          </p:txBody>
        </p:sp>
      </p:grpSp>
      <p:sp>
        <p:nvSpPr>
          <p:cNvPr id="34" name="文本框 33">
            <a:extLst>
              <a:ext uri="{FF2B5EF4-FFF2-40B4-BE49-F238E27FC236}">
                <a16:creationId xmlns:a16="http://schemas.microsoft.com/office/drawing/2014/main" xmlns="" id="{39F0F5B4-0DD3-4EA7-8BC1-88D416C27185}"/>
              </a:ext>
            </a:extLst>
          </p:cNvPr>
          <p:cNvSpPr txBox="1"/>
          <p:nvPr/>
        </p:nvSpPr>
        <p:spPr>
          <a:xfrm>
            <a:off x="1529998" y="3152025"/>
            <a:ext cx="308328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>
                <a:solidFill>
                  <a:schemeClr val="bg1">
                    <a:lumMod val="65000"/>
                  </a:schemeClr>
                </a:solidFill>
              </a:rPr>
              <a:t>Please Enter Your Title Here</a:t>
            </a:r>
            <a:endParaRPr lang="zh-CN" altLang="en-US" dirty="0">
              <a:solidFill>
                <a:schemeClr val="bg1">
                  <a:lumMod val="65000"/>
                </a:schemeClr>
              </a:solidFill>
            </a:endParaRPr>
          </a:p>
        </p:txBody>
      </p:sp>
      <p:grpSp>
        <p:nvGrpSpPr>
          <p:cNvPr id="35" name="组合 34">
            <a:extLst>
              <a:ext uri="{FF2B5EF4-FFF2-40B4-BE49-F238E27FC236}">
                <a16:creationId xmlns:a16="http://schemas.microsoft.com/office/drawing/2014/main" xmlns="" id="{03CA1856-0A82-4B75-B2B2-65DE6E9578BA}"/>
              </a:ext>
            </a:extLst>
          </p:cNvPr>
          <p:cNvGrpSpPr/>
          <p:nvPr/>
        </p:nvGrpSpPr>
        <p:grpSpPr>
          <a:xfrm>
            <a:off x="1529998" y="3930790"/>
            <a:ext cx="3879563" cy="461665"/>
            <a:chOff x="7265378" y="4083240"/>
            <a:chExt cx="3879563" cy="461665"/>
          </a:xfrm>
        </p:grpSpPr>
        <p:sp>
          <p:nvSpPr>
            <p:cNvPr id="36" name="文本框 35">
              <a:extLst>
                <a:ext uri="{FF2B5EF4-FFF2-40B4-BE49-F238E27FC236}">
                  <a16:creationId xmlns:a16="http://schemas.microsoft.com/office/drawing/2014/main" xmlns="" id="{AF17FD22-55EA-4B6F-B695-0696B023A924}"/>
                </a:ext>
              </a:extLst>
            </p:cNvPr>
            <p:cNvSpPr txBox="1"/>
            <p:nvPr/>
          </p:nvSpPr>
          <p:spPr>
            <a:xfrm>
              <a:off x="7265378" y="4083240"/>
              <a:ext cx="1158394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2400" dirty="0">
                  <a:solidFill>
                    <a:srgbClr val="1E437A"/>
                  </a:solidFill>
                  <a:latin typeface="Yu Gothic UI Semibold" panose="020B0700000000000000" pitchFamily="34" charset="-128"/>
                  <a:ea typeface="Yu Gothic UI Semibold" panose="020B0700000000000000" pitchFamily="34" charset="-128"/>
                </a:rPr>
                <a:t>PART</a:t>
              </a:r>
              <a:r>
                <a:rPr lang="en-US" altLang="zh-CN" sz="2400" dirty="0">
                  <a:latin typeface="Yu Gothic UI Semibold" panose="020B0700000000000000" pitchFamily="34" charset="-128"/>
                  <a:ea typeface="Yu Gothic UI Semibold" panose="020B0700000000000000" pitchFamily="34" charset="-128"/>
                </a:rPr>
                <a:t> 03</a:t>
              </a:r>
              <a:endParaRPr lang="zh-CN" altLang="en-US" sz="2400" dirty="0">
                <a:latin typeface="Yu Gothic UI Semibold" panose="020B0700000000000000" pitchFamily="34" charset="-128"/>
                <a:ea typeface="Yu Gothic UI Semibold" panose="020B0700000000000000" pitchFamily="34" charset="-128"/>
              </a:endParaRPr>
            </a:p>
          </p:txBody>
        </p:sp>
        <p:sp>
          <p:nvSpPr>
            <p:cNvPr id="37" name="文本框 36">
              <a:extLst>
                <a:ext uri="{FF2B5EF4-FFF2-40B4-BE49-F238E27FC236}">
                  <a16:creationId xmlns:a16="http://schemas.microsoft.com/office/drawing/2014/main" xmlns="" id="{3B2613F0-04DA-43B8-9551-728B471FA177}"/>
                </a:ext>
              </a:extLst>
            </p:cNvPr>
            <p:cNvSpPr txBox="1"/>
            <p:nvPr/>
          </p:nvSpPr>
          <p:spPr>
            <a:xfrm>
              <a:off x="8626303" y="4083240"/>
              <a:ext cx="2518638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zh-CN" altLang="en-US" sz="2400" spc="2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请输入您的标题</a:t>
              </a:r>
            </a:p>
          </p:txBody>
        </p:sp>
      </p:grpSp>
      <p:sp>
        <p:nvSpPr>
          <p:cNvPr id="38" name="文本框 37">
            <a:extLst>
              <a:ext uri="{FF2B5EF4-FFF2-40B4-BE49-F238E27FC236}">
                <a16:creationId xmlns:a16="http://schemas.microsoft.com/office/drawing/2014/main" xmlns="" id="{07B10266-2AAC-427E-ADD6-B92B46638EDD}"/>
              </a:ext>
            </a:extLst>
          </p:cNvPr>
          <p:cNvSpPr txBox="1"/>
          <p:nvPr/>
        </p:nvSpPr>
        <p:spPr>
          <a:xfrm>
            <a:off x="1529998" y="4352282"/>
            <a:ext cx="308328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>
                <a:solidFill>
                  <a:schemeClr val="bg1">
                    <a:lumMod val="65000"/>
                  </a:schemeClr>
                </a:solidFill>
              </a:rPr>
              <a:t>Please Enter Your Title Here</a:t>
            </a:r>
            <a:endParaRPr lang="zh-CN" altLang="en-US" dirty="0">
              <a:solidFill>
                <a:schemeClr val="bg1">
                  <a:lumMod val="65000"/>
                </a:schemeClr>
              </a:solidFill>
            </a:endParaRPr>
          </a:p>
        </p:txBody>
      </p:sp>
      <p:grpSp>
        <p:nvGrpSpPr>
          <p:cNvPr id="39" name="组合 38">
            <a:extLst>
              <a:ext uri="{FF2B5EF4-FFF2-40B4-BE49-F238E27FC236}">
                <a16:creationId xmlns:a16="http://schemas.microsoft.com/office/drawing/2014/main" xmlns="" id="{D4130F57-7F6E-4486-AB8C-97865B0BC57F}"/>
              </a:ext>
            </a:extLst>
          </p:cNvPr>
          <p:cNvGrpSpPr/>
          <p:nvPr/>
        </p:nvGrpSpPr>
        <p:grpSpPr>
          <a:xfrm>
            <a:off x="1529998" y="5131047"/>
            <a:ext cx="3879563" cy="461665"/>
            <a:chOff x="7265378" y="5364179"/>
            <a:chExt cx="3879563" cy="461665"/>
          </a:xfrm>
        </p:grpSpPr>
        <p:sp>
          <p:nvSpPr>
            <p:cNvPr id="40" name="文本框 39">
              <a:extLst>
                <a:ext uri="{FF2B5EF4-FFF2-40B4-BE49-F238E27FC236}">
                  <a16:creationId xmlns:a16="http://schemas.microsoft.com/office/drawing/2014/main" xmlns="" id="{DCDB9EEF-C241-4D1B-8310-9B1D07A951F7}"/>
                </a:ext>
              </a:extLst>
            </p:cNvPr>
            <p:cNvSpPr txBox="1"/>
            <p:nvPr/>
          </p:nvSpPr>
          <p:spPr>
            <a:xfrm>
              <a:off x="7265378" y="5364179"/>
              <a:ext cx="1158394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2400" dirty="0">
                  <a:solidFill>
                    <a:srgbClr val="1E437A"/>
                  </a:solidFill>
                  <a:latin typeface="Yu Gothic UI Semibold" panose="020B0700000000000000" pitchFamily="34" charset="-128"/>
                  <a:ea typeface="Yu Gothic UI Semibold" panose="020B0700000000000000" pitchFamily="34" charset="-128"/>
                </a:rPr>
                <a:t>PART</a:t>
              </a:r>
              <a:r>
                <a:rPr lang="en-US" altLang="zh-CN" sz="2400" dirty="0">
                  <a:latin typeface="Yu Gothic UI Semibold" panose="020B0700000000000000" pitchFamily="34" charset="-128"/>
                  <a:ea typeface="Yu Gothic UI Semibold" panose="020B0700000000000000" pitchFamily="34" charset="-128"/>
                </a:rPr>
                <a:t> 04</a:t>
              </a:r>
              <a:endParaRPr lang="zh-CN" altLang="en-US" sz="2400" dirty="0">
                <a:latin typeface="Yu Gothic UI Semibold" panose="020B0700000000000000" pitchFamily="34" charset="-128"/>
                <a:ea typeface="Yu Gothic UI Semibold" panose="020B0700000000000000" pitchFamily="34" charset="-128"/>
              </a:endParaRPr>
            </a:p>
          </p:txBody>
        </p:sp>
        <p:sp>
          <p:nvSpPr>
            <p:cNvPr id="41" name="文本框 40">
              <a:extLst>
                <a:ext uri="{FF2B5EF4-FFF2-40B4-BE49-F238E27FC236}">
                  <a16:creationId xmlns:a16="http://schemas.microsoft.com/office/drawing/2014/main" xmlns="" id="{51A6A60D-4477-4841-BC81-FB7C2C4EA3D9}"/>
                </a:ext>
              </a:extLst>
            </p:cNvPr>
            <p:cNvSpPr txBox="1"/>
            <p:nvPr/>
          </p:nvSpPr>
          <p:spPr>
            <a:xfrm>
              <a:off x="8626303" y="5364179"/>
              <a:ext cx="2518638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zh-CN" altLang="en-US" sz="2400" spc="2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请输入您的标题</a:t>
              </a:r>
            </a:p>
          </p:txBody>
        </p:sp>
      </p:grpSp>
      <p:sp>
        <p:nvSpPr>
          <p:cNvPr id="42" name="文本框 41">
            <a:extLst>
              <a:ext uri="{FF2B5EF4-FFF2-40B4-BE49-F238E27FC236}">
                <a16:creationId xmlns:a16="http://schemas.microsoft.com/office/drawing/2014/main" xmlns="" id="{58A3AD4F-71A5-45E7-912E-2B2C173D15FF}"/>
              </a:ext>
            </a:extLst>
          </p:cNvPr>
          <p:cNvSpPr txBox="1"/>
          <p:nvPr/>
        </p:nvSpPr>
        <p:spPr>
          <a:xfrm>
            <a:off x="1529998" y="5552539"/>
            <a:ext cx="308328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>
                <a:solidFill>
                  <a:schemeClr val="bg1">
                    <a:lumMod val="65000"/>
                  </a:schemeClr>
                </a:solidFill>
              </a:rPr>
              <a:t>Please Enter Your Title Here</a:t>
            </a:r>
            <a:endParaRPr lang="zh-CN" altLang="en-US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43" name="文本框 42">
            <a:extLst>
              <a:ext uri="{FF2B5EF4-FFF2-40B4-BE49-F238E27FC236}">
                <a16:creationId xmlns:a16="http://schemas.microsoft.com/office/drawing/2014/main" xmlns="" id="{A7702D3A-B4F0-420E-8727-C61EB092E301}"/>
              </a:ext>
            </a:extLst>
          </p:cNvPr>
          <p:cNvSpPr txBox="1"/>
          <p:nvPr/>
        </p:nvSpPr>
        <p:spPr>
          <a:xfrm>
            <a:off x="8696940" y="1138235"/>
            <a:ext cx="282641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3600" spc="100" dirty="0">
                <a:solidFill>
                  <a:schemeClr val="bg1">
                    <a:alpha val="24000"/>
                  </a:schemeClr>
                </a:solidFill>
              </a:rPr>
              <a:t>CONTENTS</a:t>
            </a:r>
            <a:endParaRPr lang="zh-CN" altLang="en-US" sz="3600" spc="100" dirty="0">
              <a:solidFill>
                <a:schemeClr val="bg1">
                  <a:alpha val="24000"/>
                </a:schemeClr>
              </a:solidFill>
            </a:endParaRPr>
          </a:p>
        </p:txBody>
      </p:sp>
      <p:sp>
        <p:nvSpPr>
          <p:cNvPr id="44" name="文本框 43">
            <a:extLst>
              <a:ext uri="{FF2B5EF4-FFF2-40B4-BE49-F238E27FC236}">
                <a16:creationId xmlns:a16="http://schemas.microsoft.com/office/drawing/2014/main" xmlns="" id="{7109A112-0EF0-4B58-86E9-34E4F844CB8F}"/>
              </a:ext>
            </a:extLst>
          </p:cNvPr>
          <p:cNvSpPr txBox="1"/>
          <p:nvPr/>
        </p:nvSpPr>
        <p:spPr>
          <a:xfrm>
            <a:off x="10066405" y="1107458"/>
            <a:ext cx="1236236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4000" b="1" spc="100" dirty="0">
                <a:solidFill>
                  <a:schemeClr val="bg1"/>
                </a:solidFill>
              </a:rPr>
              <a:t>目录</a:t>
            </a:r>
          </a:p>
        </p:txBody>
      </p:sp>
      <p:pic>
        <p:nvPicPr>
          <p:cNvPr id="45" name="图片 44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4791" y="385554"/>
            <a:ext cx="1910413" cy="538564"/>
          </a:xfrm>
          <a:prstGeom prst="rect">
            <a:avLst/>
          </a:prstGeom>
        </p:spPr>
      </p:pic>
      <p:sp>
        <p:nvSpPr>
          <p:cNvPr id="46" name="îslîḋê">
            <a:extLst>
              <a:ext uri="{FF2B5EF4-FFF2-40B4-BE49-F238E27FC236}">
                <a16:creationId xmlns="" xmlns:a16="http://schemas.microsoft.com/office/drawing/2014/main" id="{DCE20565-2A46-44FE-BA7F-54A048ABDDDC}"/>
              </a:ext>
            </a:extLst>
          </p:cNvPr>
          <p:cNvSpPr/>
          <p:nvPr/>
        </p:nvSpPr>
        <p:spPr bwMode="auto">
          <a:xfrm>
            <a:off x="4762" y="6200012"/>
            <a:ext cx="12187237" cy="649957"/>
          </a:xfrm>
          <a:custGeom>
            <a:avLst/>
            <a:gdLst>
              <a:gd name="T0" fmla="*/ 0 w 3200"/>
              <a:gd name="T1" fmla="*/ 129 h 391"/>
              <a:gd name="T2" fmla="*/ 3200 w 3200"/>
              <a:gd name="T3" fmla="*/ 0 h 391"/>
              <a:gd name="T4" fmla="*/ 3200 w 3200"/>
              <a:gd name="T5" fmla="*/ 268 h 391"/>
              <a:gd name="T6" fmla="*/ 0 w 3200"/>
              <a:gd name="T7" fmla="*/ 264 h 391"/>
              <a:gd name="T8" fmla="*/ 0 w 3200"/>
              <a:gd name="T9" fmla="*/ 129 h 3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200" h="391">
                <a:moveTo>
                  <a:pt x="0" y="129"/>
                </a:moveTo>
                <a:cubicBezTo>
                  <a:pt x="217" y="129"/>
                  <a:pt x="2396" y="272"/>
                  <a:pt x="3200" y="0"/>
                </a:cubicBezTo>
                <a:cubicBezTo>
                  <a:pt x="3200" y="391"/>
                  <a:pt x="3200" y="268"/>
                  <a:pt x="3200" y="268"/>
                </a:cubicBezTo>
                <a:cubicBezTo>
                  <a:pt x="0" y="264"/>
                  <a:pt x="0" y="264"/>
                  <a:pt x="0" y="264"/>
                </a:cubicBezTo>
                <a:lnTo>
                  <a:pt x="0" y="129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endParaRPr lang="ru-RU"/>
          </a:p>
        </p:txBody>
      </p:sp>
      <p:sp>
        <p:nvSpPr>
          <p:cNvPr id="47" name="iṥliḍè">
            <a:extLst>
              <a:ext uri="{FF2B5EF4-FFF2-40B4-BE49-F238E27FC236}">
                <a16:creationId xmlns="" xmlns:a16="http://schemas.microsoft.com/office/drawing/2014/main" id="{E56648C9-91F5-4477-8772-C42F98C9A5C6}"/>
              </a:ext>
            </a:extLst>
          </p:cNvPr>
          <p:cNvSpPr/>
          <p:nvPr/>
        </p:nvSpPr>
        <p:spPr bwMode="auto">
          <a:xfrm>
            <a:off x="4762" y="6120260"/>
            <a:ext cx="12187237" cy="743156"/>
          </a:xfrm>
          <a:custGeom>
            <a:avLst/>
            <a:gdLst>
              <a:gd name="T0" fmla="*/ 3200 w 3200"/>
              <a:gd name="T1" fmla="*/ 331 h 465"/>
              <a:gd name="T2" fmla="*/ 0 w 3200"/>
              <a:gd name="T3" fmla="*/ 0 h 465"/>
              <a:gd name="T4" fmla="*/ 0 w 3200"/>
              <a:gd name="T5" fmla="*/ 465 h 465"/>
              <a:gd name="T6" fmla="*/ 3200 w 3200"/>
              <a:gd name="T7" fmla="*/ 465 h 465"/>
              <a:gd name="T8" fmla="*/ 3200 w 3200"/>
              <a:gd name="T9" fmla="*/ 331 h 46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200" h="465">
                <a:moveTo>
                  <a:pt x="3200" y="331"/>
                </a:moveTo>
                <a:cubicBezTo>
                  <a:pt x="2983" y="331"/>
                  <a:pt x="804" y="273"/>
                  <a:pt x="0" y="0"/>
                </a:cubicBezTo>
                <a:cubicBezTo>
                  <a:pt x="0" y="392"/>
                  <a:pt x="0" y="465"/>
                  <a:pt x="0" y="465"/>
                </a:cubicBezTo>
                <a:cubicBezTo>
                  <a:pt x="3200" y="465"/>
                  <a:pt x="3200" y="465"/>
                  <a:pt x="3200" y="465"/>
                </a:cubicBezTo>
                <a:lnTo>
                  <a:pt x="3200" y="331"/>
                </a:lnTo>
                <a:close/>
              </a:path>
            </a:pathLst>
          </a:custGeom>
          <a:solidFill>
            <a:srgbClr val="1E437A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1135517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>
          <a:xfrm>
            <a:off x="828387" y="2420322"/>
            <a:ext cx="5419185" cy="895350"/>
          </a:xfrm>
        </p:spPr>
        <p:txBody>
          <a:bodyPr>
            <a:normAutofit/>
          </a:bodyPr>
          <a:lstStyle/>
          <a:p>
            <a:r>
              <a:rPr lang="zh-CN" altLang="en-US" sz="4400" spc="200" dirty="0">
                <a:solidFill>
                  <a:srgbClr val="1E437A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请输入您的标题</a:t>
            </a:r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>
          <a:xfrm>
            <a:off x="828387" y="3392694"/>
            <a:ext cx="5419185" cy="1015623"/>
          </a:xfrm>
        </p:spPr>
        <p:txBody>
          <a:bodyPr>
            <a:normAutofit/>
          </a:bodyPr>
          <a:lstStyle/>
          <a:p>
            <a:r>
              <a:rPr lang="en-US" altLang="zh-CN" sz="2400" dirty="0">
                <a:solidFill>
                  <a:schemeClr val="bg1">
                    <a:lumMod val="65000"/>
                  </a:schemeClr>
                </a:solidFill>
              </a:rPr>
              <a:t>Please Enter Your Title Here</a:t>
            </a:r>
            <a:endParaRPr lang="zh-CN" altLang="en-US" sz="2400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9" name="文本框 8">
            <a:extLst>
              <a:ext uri="{FF2B5EF4-FFF2-40B4-BE49-F238E27FC236}">
                <a16:creationId xmlns=""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914112" y="1447950"/>
            <a:ext cx="1029774" cy="895350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pPr algn="ctr"/>
            <a:r>
              <a:rPr lang="en-US" altLang="zh-CN" spc="100" dirty="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1</a:t>
            </a:r>
            <a:endParaRPr lang="zh-CN" altLang="en-US" spc="100" dirty="0">
              <a:solidFill>
                <a:schemeClr val="accent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7159738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文本框 5"/>
          <p:cNvSpPr txBox="1"/>
          <p:nvPr/>
        </p:nvSpPr>
        <p:spPr>
          <a:xfrm>
            <a:off x="874059" y="134471"/>
            <a:ext cx="813547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800" b="1" dirty="0" smtClean="0">
                <a:solidFill>
                  <a:srgbClr val="1E437A"/>
                </a:solidFill>
              </a:rPr>
              <a:t>请输入您的标题</a:t>
            </a:r>
            <a:endParaRPr lang="zh-CN" altLang="en-US" sz="2800" b="1" dirty="0">
              <a:solidFill>
                <a:srgbClr val="1E437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3341476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="" xmlns:a16="http://schemas.microsoft.com/office/drawing/2014/main" id="{3C326D0B-7DAB-41B6-8030-2E4A18CC949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8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="" xmlns:a16="http://schemas.microsoft.com/office/drawing/2014/main" id="{EC933494-1B63-4A32-964F-D05236799BA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10" name="文本占位符 6">
            <a:extLst>
              <a:ext uri="{FF2B5EF4-FFF2-40B4-BE49-F238E27FC236}">
                <a16:creationId xmlns="" xmlns:a16="http://schemas.microsoft.com/office/drawing/2014/main" id="{860E080A-905E-49CC-BEDE-33BC64BB0471}"/>
              </a:ext>
            </a:extLst>
          </p:cNvPr>
          <p:cNvSpPr txBox="1">
            <a:spLocks/>
          </p:cNvSpPr>
          <p:nvPr/>
        </p:nvSpPr>
        <p:spPr>
          <a:xfrm>
            <a:off x="2091083" y="1736171"/>
            <a:ext cx="8505372" cy="753117"/>
          </a:xfrm>
          <a:prstGeom prst="rect">
            <a:avLst/>
          </a:prstGeom>
        </p:spPr>
        <p:txBody>
          <a:bodyPr/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zh-CN" altLang="en-US" sz="8000" b="1" dirty="0" smtClean="0">
                <a:solidFill>
                  <a:srgbClr val="1E437A"/>
                </a:solidFill>
              </a:rPr>
              <a:t>谢谢大家！</a:t>
            </a:r>
            <a:endParaRPr lang="zh-CN" altLang="en-US" sz="8000" b="1" dirty="0">
              <a:solidFill>
                <a:srgbClr val="1E437A"/>
              </a:solidFill>
            </a:endParaRPr>
          </a:p>
        </p:txBody>
      </p:sp>
      <p:sp>
        <p:nvSpPr>
          <p:cNvPr id="12" name="文本占位符 5">
            <a:extLst>
              <a:ext uri="{FF2B5EF4-FFF2-40B4-BE49-F238E27FC236}">
                <a16:creationId xmlns="" xmlns:a16="http://schemas.microsoft.com/office/drawing/2014/main" id="{A4DCDCE4-CC27-4A6F-8F80-D5A38BA28EB4}"/>
              </a:ext>
            </a:extLst>
          </p:cNvPr>
          <p:cNvSpPr txBox="1">
            <a:spLocks/>
          </p:cNvSpPr>
          <p:nvPr/>
        </p:nvSpPr>
        <p:spPr>
          <a:xfrm>
            <a:off x="6343769" y="3229026"/>
            <a:ext cx="1977154" cy="444660"/>
          </a:xfrm>
          <a:prstGeom prst="roundRect">
            <a:avLst>
              <a:gd name="adj" fmla="val 50000"/>
            </a:avLst>
          </a:prstGeom>
          <a:gradFill>
            <a:gsLst>
              <a:gs pos="0">
                <a:schemeClr val="accent4"/>
              </a:gs>
              <a:gs pos="100000">
                <a:schemeClr val="accent2"/>
              </a:gs>
            </a:gsLst>
            <a:lin ang="0" scaled="0"/>
          </a:gradFill>
        </p:spPr>
        <p:txBody>
          <a:bodyPr/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zh-CN" altLang="en-US" smtClean="0">
                <a:solidFill>
                  <a:schemeClr val="bg1"/>
                </a:solidFill>
              </a:rPr>
              <a:t>时间：</a:t>
            </a:r>
            <a:r>
              <a:rPr lang="en-US" altLang="zh-CN" smtClean="0">
                <a:solidFill>
                  <a:schemeClr val="bg1"/>
                </a:solidFill>
              </a:rPr>
              <a:t>XXX</a:t>
            </a:r>
            <a:endParaRPr lang="zh-CN" altLang="en-US" dirty="0">
              <a:solidFill>
                <a:schemeClr val="bg1"/>
              </a:solidFill>
            </a:endParaRPr>
          </a:p>
        </p:txBody>
      </p:sp>
      <p:sp>
        <p:nvSpPr>
          <p:cNvPr id="13" name="文本占位符 8">
            <a:extLst>
              <a:ext uri="{FF2B5EF4-FFF2-40B4-BE49-F238E27FC236}">
                <a16:creationId xmlns="" xmlns:a16="http://schemas.microsoft.com/office/drawing/2014/main" id="{4C49759C-7CAD-4972-A0E1-AD0D86FDC083}"/>
              </a:ext>
            </a:extLst>
          </p:cNvPr>
          <p:cNvSpPr txBox="1">
            <a:spLocks/>
          </p:cNvSpPr>
          <p:nvPr/>
        </p:nvSpPr>
        <p:spPr>
          <a:xfrm>
            <a:off x="4095893" y="3229026"/>
            <a:ext cx="1977154" cy="444660"/>
          </a:xfrm>
          <a:prstGeom prst="roundRect">
            <a:avLst>
              <a:gd name="adj" fmla="val 50000"/>
            </a:avLst>
          </a:prstGeom>
          <a:gradFill>
            <a:gsLst>
              <a:gs pos="0">
                <a:schemeClr val="accent4"/>
              </a:gs>
              <a:gs pos="100000">
                <a:schemeClr val="accent2"/>
              </a:gs>
            </a:gsLst>
            <a:lin ang="0" scaled="0"/>
          </a:gradFill>
        </p:spPr>
        <p:txBody>
          <a:bodyPr/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zh-CN" altLang="en-US" dirty="0" smtClean="0">
                <a:solidFill>
                  <a:schemeClr val="bg1"/>
                </a:solidFill>
              </a:rPr>
              <a:t>汇报人：</a:t>
            </a:r>
            <a:r>
              <a:rPr lang="en-US" altLang="zh-CN" dirty="0" smtClean="0">
                <a:solidFill>
                  <a:schemeClr val="bg1"/>
                </a:solidFill>
              </a:rPr>
              <a:t>XXX</a:t>
            </a:r>
            <a:endParaRPr lang="zh-CN" altLang="en-US" dirty="0">
              <a:solidFill>
                <a:schemeClr val="bg1"/>
              </a:solidFill>
            </a:endParaRPr>
          </a:p>
        </p:txBody>
      </p:sp>
      <p:pic>
        <p:nvPicPr>
          <p:cNvPr id="14" name="图片 13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34335" y="594193"/>
            <a:ext cx="2434654" cy="6863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800708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 TOOLS.GUIDESSETTING" val="{&quot;Id&quot;:&quot;2d4375ee-8516-45e0-8956-45702a61a9b6&quot;,&quot;Name&quot;:&quot;iSlide&quot;,&quot;HeaderHeight&quot;:15.0,&quot;FooterHeight&quot;:9.0000000000000036,&quot;SideMargin&quot;:5.4999999999999982,&quot;TopMargin&quot;:0.0,&quot;BottomMargin&quot;:0.0,&quot;IntervalMargin&quot;:1.3999999999999997}"/>
  <p:tag name="ISLIDE.GUIDESSETTING" val="{&quot;Id&quot;:&quot;GuidesStyle_Normal&quot;,&quot;Name&quot;:&quot;正常&quot;,&quot;HeaderHeight&quot;:15.0,&quot;FooterHeight&quot;:9.0,&quot;SideMargin&quot;:5.5,&quot;TopMargin&quot;:0.0,&quot;BottomMargin&quot;:0.0,&quot;IntervalMargin&quot;:1.5}"/>
  <p:tag name="THINKCELLUNDODONOTDELETE" val="0"/>
  <p:tag name="ISLIDE.THEME" val="47ac8596-cd43-4cdb-a76a-69e09c1a09c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</p:tagLst>
</file>

<file path=ppt/theme/theme1.xml><?xml version="1.0" encoding="utf-8"?>
<a:theme xmlns:a="http://schemas.openxmlformats.org/drawingml/2006/main" name="主题5">
  <a:themeElements>
    <a:clrScheme name="房利美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46A334"/>
      </a:accent1>
      <a:accent2>
        <a:srgbClr val="89CE56"/>
      </a:accent2>
      <a:accent3>
        <a:srgbClr val="C8D23A"/>
      </a:accent3>
      <a:accent4>
        <a:srgbClr val="59B4D7"/>
      </a:accent4>
      <a:accent5>
        <a:srgbClr val="949B9B"/>
      </a:accent5>
      <a:accent6>
        <a:srgbClr val="D8D8D8"/>
      </a:accent6>
      <a:hlink>
        <a:srgbClr val="4276AA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主题5" id="{B8EDB911-D765-4A7B-BBC7-40DBB672FBA6}" vid="{AECAB1C0-5DF6-436C-85E8-20094DBE11C0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46A334"/>
    </a:accent1>
    <a:accent2>
      <a:srgbClr val="89CE56"/>
    </a:accent2>
    <a:accent3>
      <a:srgbClr val="C8D23A"/>
    </a:accent3>
    <a:accent4>
      <a:srgbClr val="59B4D7"/>
    </a:accent4>
    <a:accent5>
      <a:srgbClr val="949B9B"/>
    </a:accent5>
    <a:accent6>
      <a:srgbClr val="D8D8D8"/>
    </a:accent6>
    <a:hlink>
      <a:srgbClr val="4276AA"/>
    </a:hlink>
    <a:folHlink>
      <a:srgbClr val="BFBFBF"/>
    </a:folHlink>
  </a:clrScheme>
</a:themeOverride>
</file>

<file path=ppt/theme/themeOverride2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46A334"/>
    </a:accent1>
    <a:accent2>
      <a:srgbClr val="89CE56"/>
    </a:accent2>
    <a:accent3>
      <a:srgbClr val="C8D23A"/>
    </a:accent3>
    <a:accent4>
      <a:srgbClr val="59B4D7"/>
    </a:accent4>
    <a:accent5>
      <a:srgbClr val="949B9B"/>
    </a:accent5>
    <a:accent6>
      <a:srgbClr val="D8D8D8"/>
    </a:accent6>
    <a:hlink>
      <a:srgbClr val="4276AA"/>
    </a:hlink>
    <a:folHlink>
      <a:srgbClr val="BFBFBF"/>
    </a:folHlink>
  </a:clrScheme>
</a:themeOverride>
</file>

<file path=ppt/theme/themeOverride3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46A334"/>
    </a:accent1>
    <a:accent2>
      <a:srgbClr val="89CE56"/>
    </a:accent2>
    <a:accent3>
      <a:srgbClr val="C8D23A"/>
    </a:accent3>
    <a:accent4>
      <a:srgbClr val="59B4D7"/>
    </a:accent4>
    <a:accent5>
      <a:srgbClr val="949B9B"/>
    </a:accent5>
    <a:accent6>
      <a:srgbClr val="D8D8D8"/>
    </a:accent6>
    <a:hlink>
      <a:srgbClr val="4276AA"/>
    </a:hlink>
    <a:folHlink>
      <a:srgbClr val="BFBFB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iSlide</Template>
  <TotalTime>685</TotalTime>
  <Words>96</Words>
  <Application>Microsoft Office PowerPoint</Application>
  <PresentationFormat>宽屏</PresentationFormat>
  <Paragraphs>29</Paragraphs>
  <Slides>5</Slides>
  <Notes>4</Notes>
  <HiddenSlides>0</HiddenSlides>
  <MMClips>0</MMClips>
  <ScaleCrop>false</ScaleCrop>
  <HeadingPairs>
    <vt:vector size="8" baseType="variant">
      <vt:variant>
        <vt:lpstr>已用的字体</vt:lpstr>
      </vt:variant>
      <vt:variant>
        <vt:i4>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5</vt:i4>
      </vt:variant>
    </vt:vector>
  </HeadingPairs>
  <TitlesOfParts>
    <vt:vector size="13" baseType="lpstr">
      <vt:lpstr>Yu Gothic UI Semibold</vt:lpstr>
      <vt:lpstr>宋体</vt:lpstr>
      <vt:lpstr>微软雅黑</vt:lpstr>
      <vt:lpstr>Arial</vt:lpstr>
      <vt:lpstr>Calibri</vt:lpstr>
      <vt:lpstr>Impact</vt:lpstr>
      <vt:lpstr>主题5</vt:lpstr>
      <vt:lpstr>think-cell Slide</vt:lpstr>
      <vt:lpstr>PowerPoint 演示文稿</vt:lpstr>
      <vt:lpstr>PowerPoint 演示文稿</vt:lpstr>
      <vt:lpstr>请输入您的标题</vt:lpstr>
      <vt:lpstr>PowerPoint 演示文稿</vt:lpstr>
      <vt:lpstr>PowerPoint 演示文稿</vt:lpstr>
    </vt:vector>
  </TitlesOfParts>
  <Manager>iSlide</Manager>
  <Company>iSlide</Company>
  <LinksUpToDate>false</LinksUpToDate>
  <SharedDoc>false</SharedDoc>
  <HyperlinkBase>https://www.islide.cc</HyperlinkBase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SWJTU</dc:creator>
  <cp:lastModifiedBy>user</cp:lastModifiedBy>
  <cp:revision>12</cp:revision>
  <cp:lastPrinted>2019-05-26T16:00:00Z</cp:lastPrinted>
  <dcterms:created xsi:type="dcterms:W3CDTF">2019-05-26T16:00:00Z</dcterms:created>
  <dcterms:modified xsi:type="dcterms:W3CDTF">2019-11-25T00:17:0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</Properties>
</file>